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71" r:id="rId2"/>
    <p:sldId id="272" r:id="rId3"/>
    <p:sldId id="261" r:id="rId4"/>
    <p:sldId id="269" r:id="rId5"/>
    <p:sldId id="273" r:id="rId6"/>
    <p:sldId id="259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720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F030AF-C49F-4533-9705-62A2DF54FC5D}" type="datetimeFigureOut">
              <a:rPr lang="en-IN" smtClean="0"/>
              <a:t>01-06-2021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896647-8CCD-44C2-8DF0-C46D32EEE01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45239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vectors/technology'&gt;Technology vector created by stories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4538D7-8246-4C11-8DE2-3490AAFD53C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30222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D889FE-7E8C-4D62-B296-EBC4E6E900C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E6CAA0-89DE-4E1A-BBAF-246845A012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C5A2CC-483D-4FF1-A290-25EA29B7C5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3A992-0CE1-48E4-A89B-06AA77BE456C}" type="datetimeFigureOut">
              <a:rPr lang="en-IN" smtClean="0"/>
              <a:t>01-06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BED52F-1680-454B-B389-8C6AF84E89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6590E5-3F1F-4056-9474-0406A42526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C0E1CC-2A35-4820-9C50-9D959340B79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850110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6BBC27-3B98-4649-8034-3969C5F4C7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925A71E-C669-4EE5-946D-C526B9CA22E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22FD07-5753-41CD-A617-1EA3CD3068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3A992-0CE1-48E4-A89B-06AA77BE456C}" type="datetimeFigureOut">
              <a:rPr lang="en-IN" smtClean="0"/>
              <a:t>01-06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C97FBB-B606-41CB-AD5A-A1F0108AC5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039ECD-95E9-4F10-BEEB-69907619C4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C0E1CC-2A35-4820-9C50-9D959340B79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535997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BF73DC0-36A1-4676-84B1-473D5442D39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D23C418-0C3D-4BDC-AF04-5E7339C6E94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524624-8785-461E-9AE5-65BEB9AEF7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3A992-0CE1-48E4-A89B-06AA77BE456C}" type="datetimeFigureOut">
              <a:rPr lang="en-IN" smtClean="0"/>
              <a:t>01-06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215A1F-68D4-4C42-977B-19FF90158B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227BD7-CEA3-4FDB-86C7-D51B86E2EC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C0E1CC-2A35-4820-9C50-9D959340B79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227447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7BFE7D-6BE0-4B0A-9439-BAAA2C7933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BCAF68-8C64-42F0-BCDE-C42B7DDBD27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C2D81B-98DC-48B5-929B-20B629235C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3A992-0CE1-48E4-A89B-06AA77BE456C}" type="datetimeFigureOut">
              <a:rPr lang="en-IN" smtClean="0"/>
              <a:t>01-06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FE1790-06D3-4225-A5AE-4CCB8367DB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2C5F23-B98A-4A1F-999C-A693D4D675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C0E1CC-2A35-4820-9C50-9D959340B79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246232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FCBAC5-D496-4ABB-9791-1BF569E6D2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CBE5E2-8161-4288-B2A6-3601573306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6A635A-0096-4A64-B869-784C232D23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3A992-0CE1-48E4-A89B-06AA77BE456C}" type="datetimeFigureOut">
              <a:rPr lang="en-IN" smtClean="0"/>
              <a:t>01-06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4E329B-E32D-4DB0-9FAD-F74D7CB7A7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9E4248-16FB-419A-9D9B-6265E59FE5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C0E1CC-2A35-4820-9C50-9D959340B79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679823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3D4552-8AE9-426D-9A65-CE5399E29C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98B914-1091-4545-B747-FAEE4EFEF7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842152-FDDD-4077-BCC2-061264A3AC7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D65F785-F49C-4B57-A263-A3FA51F7C3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3A992-0CE1-48E4-A89B-06AA77BE456C}" type="datetimeFigureOut">
              <a:rPr lang="en-IN" smtClean="0"/>
              <a:t>01-06-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91F172D-0F17-4A79-8CEC-5DEF2A264C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3521C1E-D714-4E77-BD06-432A53EA22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C0E1CC-2A35-4820-9C50-9D959340B79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55584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98C6B1-FD1F-4913-89F9-94D5AAB03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65E6A4-30C2-4274-A5CA-7A5A0D9714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946B198-F13A-400D-BABD-7FF819A1D2C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D56DCD5-86D6-413C-95E9-AA0094EB1A9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163C349-E5BA-45E5-B000-039D1D81D7C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9C388DF-4333-420A-9F84-039D5E906A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3A992-0CE1-48E4-A89B-06AA77BE456C}" type="datetimeFigureOut">
              <a:rPr lang="en-IN" smtClean="0"/>
              <a:t>01-06-2021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282B4FB-BF2E-4F51-831A-A18E60B502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EEACD4A-183D-41F7-9B07-34C92B6F3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C0E1CC-2A35-4820-9C50-9D959340B79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787795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4450D3-7830-4BDA-A24C-88AE1EA55C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A83C1C2-83BC-44FE-B9A1-44C2F972C0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3A992-0CE1-48E4-A89B-06AA77BE456C}" type="datetimeFigureOut">
              <a:rPr lang="en-IN" smtClean="0"/>
              <a:t>01-06-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DE18EBF-7D75-4684-AD29-218BD75BAF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F6175C-4A89-4D3B-B99A-20C144AF2B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C0E1CC-2A35-4820-9C50-9D959340B79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189942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6482CC-BA6C-4219-B87B-ACC179458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3A992-0CE1-48E4-A89B-06AA77BE456C}" type="datetimeFigureOut">
              <a:rPr lang="en-IN" smtClean="0"/>
              <a:t>01-06-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164DD3-D3E1-4F27-9093-9CEE71B9CF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3786C8-B20B-430B-9ABF-91DB5C1FA4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C0E1CC-2A35-4820-9C50-9D959340B79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132979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942A23-F4DC-4F46-A64D-A698FCC39E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446DAA-33CE-438C-A642-2FA4588C76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52529EB-0129-478B-8FCE-E8FA8EC7215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1F655F-DC28-4AC9-82C9-BF2A5ACE7C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3A992-0CE1-48E4-A89B-06AA77BE456C}" type="datetimeFigureOut">
              <a:rPr lang="en-IN" smtClean="0"/>
              <a:t>01-06-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CEF3FA-DA17-4ACC-AF7F-939324EF7F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957507E-CEAF-48B0-AE20-6FC67C86DD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C0E1CC-2A35-4820-9C50-9D959340B79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470390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B0849D-8EFC-4446-9DB8-DCC363E9F5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543477E-2B59-46BB-96AE-49B8FB20EFC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F0D8E07-94E3-4ACC-9BCC-1B643887918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DB9905-51A2-492F-BABD-0C136B1394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3A992-0CE1-48E4-A89B-06AA77BE456C}" type="datetimeFigureOut">
              <a:rPr lang="en-IN" smtClean="0"/>
              <a:t>01-06-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819DFB5-8A80-4482-8A9C-7CFDA87174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ED4222-F219-405F-9986-36408F392A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C0E1CC-2A35-4820-9C50-9D959340B79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936044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CFA74CE-5E46-431D-829F-1E6380016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A708AF-13CA-4892-8B62-47B72DC35A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75863A-4D5A-4829-943C-C76C666CB3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23A992-0CE1-48E4-A89B-06AA77BE456C}" type="datetimeFigureOut">
              <a:rPr lang="en-IN" smtClean="0"/>
              <a:t>01-06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C36FFB-806F-4439-B022-469DDBC9AB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0AC77C-9C3C-4970-8743-C108E89C14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5C0E1CC-2A35-4820-9C50-9D959340B79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96315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3232493" y="2404699"/>
            <a:ext cx="667657" cy="667657"/>
          </a:xfrm>
          <a:prstGeom prst="rect">
            <a:avLst/>
          </a:prstGeom>
          <a:solidFill>
            <a:srgbClr val="AA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3232493" y="0"/>
            <a:ext cx="667657" cy="667657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3232493" y="798285"/>
            <a:ext cx="667657" cy="667657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/>
          <p:cNvSpPr/>
          <p:nvPr/>
        </p:nvSpPr>
        <p:spPr>
          <a:xfrm>
            <a:off x="12446277" y="2404699"/>
            <a:ext cx="667657" cy="667657"/>
          </a:xfrm>
          <a:prstGeom prst="rect">
            <a:avLst/>
          </a:prstGeom>
          <a:solidFill>
            <a:srgbClr val="7C7C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/>
          <p:cNvSpPr/>
          <p:nvPr/>
        </p:nvSpPr>
        <p:spPr>
          <a:xfrm>
            <a:off x="12446277" y="0"/>
            <a:ext cx="667657" cy="667657"/>
          </a:xfrm>
          <a:prstGeom prst="rect">
            <a:avLst/>
          </a:prstGeom>
          <a:solidFill>
            <a:srgbClr val="0156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/>
          <p:cNvSpPr/>
          <p:nvPr/>
        </p:nvSpPr>
        <p:spPr>
          <a:xfrm>
            <a:off x="12446277" y="798285"/>
            <a:ext cx="667657" cy="667657"/>
          </a:xfrm>
          <a:prstGeom prst="rect">
            <a:avLst/>
          </a:prstGeom>
          <a:solidFill>
            <a:srgbClr val="3890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6"/>
          <p:cNvSpPr/>
          <p:nvPr/>
        </p:nvSpPr>
        <p:spPr>
          <a:xfrm>
            <a:off x="14018709" y="2404699"/>
            <a:ext cx="667657" cy="6676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 77"/>
          <p:cNvSpPr/>
          <p:nvPr/>
        </p:nvSpPr>
        <p:spPr>
          <a:xfrm>
            <a:off x="14018709" y="0"/>
            <a:ext cx="667657" cy="667657"/>
          </a:xfrm>
          <a:prstGeom prst="rect">
            <a:avLst/>
          </a:prstGeom>
          <a:solidFill>
            <a:srgbClr val="0185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/>
          <p:cNvSpPr/>
          <p:nvPr/>
        </p:nvSpPr>
        <p:spPr>
          <a:xfrm>
            <a:off x="14018709" y="798285"/>
            <a:ext cx="667657" cy="667657"/>
          </a:xfrm>
          <a:prstGeom prst="rect">
            <a:avLst/>
          </a:prstGeom>
          <a:solidFill>
            <a:srgbClr val="7AC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/>
          <p:cNvSpPr/>
          <p:nvPr/>
        </p:nvSpPr>
        <p:spPr>
          <a:xfrm>
            <a:off x="13232493" y="1594919"/>
            <a:ext cx="667657" cy="667657"/>
          </a:xfrm>
          <a:prstGeom prst="rect">
            <a:avLst/>
          </a:prstGeom>
          <a:solidFill>
            <a:srgbClr val="FEA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82"/>
          <p:cNvSpPr/>
          <p:nvPr/>
        </p:nvSpPr>
        <p:spPr>
          <a:xfrm>
            <a:off x="12446276" y="1594919"/>
            <a:ext cx="667657" cy="667657"/>
          </a:xfrm>
          <a:prstGeom prst="rect">
            <a:avLst/>
          </a:prstGeom>
          <a:solidFill>
            <a:srgbClr val="FE8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/>
        </p:nvSpPr>
        <p:spPr>
          <a:xfrm>
            <a:off x="14018709" y="1594919"/>
            <a:ext cx="667657" cy="667657"/>
          </a:xfrm>
          <a:prstGeom prst="rect">
            <a:avLst/>
          </a:prstGeom>
          <a:solidFill>
            <a:srgbClr val="FEBF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3" name="Title 1"/>
          <p:cNvSpPr txBox="1">
            <a:spLocks/>
          </p:cNvSpPr>
          <p:nvPr/>
        </p:nvSpPr>
        <p:spPr>
          <a:xfrm>
            <a:off x="3017306" y="630039"/>
            <a:ext cx="6157388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3200" b="1" dirty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Achievements</a:t>
            </a:r>
          </a:p>
        </p:txBody>
      </p:sp>
      <p:grpSp>
        <p:nvGrpSpPr>
          <p:cNvPr id="322" name="Group 321"/>
          <p:cNvGrpSpPr/>
          <p:nvPr/>
        </p:nvGrpSpPr>
        <p:grpSpPr>
          <a:xfrm>
            <a:off x="-671428" y="6747444"/>
            <a:ext cx="13534857" cy="110556"/>
            <a:chOff x="-170626" y="0"/>
            <a:chExt cx="13534857" cy="166915"/>
          </a:xfrm>
        </p:grpSpPr>
        <p:sp>
          <p:nvSpPr>
            <p:cNvPr id="323" name="Parallelogram 322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4" name="Parallelogram 323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5" name="Parallelogram 324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29" name="Group 528"/>
          <p:cNvGrpSpPr/>
          <p:nvPr/>
        </p:nvGrpSpPr>
        <p:grpSpPr>
          <a:xfrm>
            <a:off x="5410200" y="264115"/>
            <a:ext cx="1371600" cy="110556"/>
            <a:chOff x="-170626" y="0"/>
            <a:chExt cx="13534857" cy="166915"/>
          </a:xfrm>
        </p:grpSpPr>
        <p:sp>
          <p:nvSpPr>
            <p:cNvPr id="530" name="Parallelogram 529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1" name="Parallelogram 530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2" name="Parallelogram 531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5" name="Oval 94"/>
          <p:cNvSpPr>
            <a:spLocks noChangeArrowheads="1"/>
          </p:cNvSpPr>
          <p:nvPr/>
        </p:nvSpPr>
        <p:spPr bwMode="auto">
          <a:xfrm>
            <a:off x="4481275" y="2236873"/>
            <a:ext cx="3321358" cy="3321358"/>
          </a:xfrm>
          <a:prstGeom prst="ellipse">
            <a:avLst/>
          </a:prstGeom>
          <a:noFill/>
          <a:ln w="6350" cap="flat">
            <a:solidFill>
              <a:schemeClr val="tx1">
                <a:lumMod val="65000"/>
                <a:lumOff val="35000"/>
              </a:schemeClr>
            </a:solidFill>
            <a:prstDash val="dash"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3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6" name="Oval 95"/>
          <p:cNvSpPr>
            <a:spLocks noChangeArrowheads="1"/>
          </p:cNvSpPr>
          <p:nvPr/>
        </p:nvSpPr>
        <p:spPr bwMode="auto">
          <a:xfrm>
            <a:off x="4769493" y="2525091"/>
            <a:ext cx="2744924" cy="2744925"/>
          </a:xfrm>
          <a:prstGeom prst="ellipse">
            <a:avLst/>
          </a:prstGeom>
          <a:solidFill>
            <a:schemeClr val="bg1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7" name="Freeform 96"/>
          <p:cNvSpPr>
            <a:spLocks/>
          </p:cNvSpPr>
          <p:nvPr/>
        </p:nvSpPr>
        <p:spPr bwMode="auto">
          <a:xfrm>
            <a:off x="3169633" y="1598629"/>
            <a:ext cx="869158" cy="394538"/>
          </a:xfrm>
          <a:custGeom>
            <a:avLst/>
            <a:gdLst>
              <a:gd name="T0" fmla="*/ 0 w 188"/>
              <a:gd name="T1" fmla="*/ 85 h 85"/>
              <a:gd name="T2" fmla="*/ 188 w 188"/>
              <a:gd name="T3" fmla="*/ 85 h 85"/>
              <a:gd name="T4" fmla="*/ 184 w 188"/>
              <a:gd name="T5" fmla="*/ 31 h 85"/>
              <a:gd name="T6" fmla="*/ 138 w 188"/>
              <a:gd name="T7" fmla="*/ 6 h 85"/>
              <a:gd name="T8" fmla="*/ 75 w 188"/>
              <a:gd name="T9" fmla="*/ 0 h 85"/>
              <a:gd name="T10" fmla="*/ 46 w 188"/>
              <a:gd name="T11" fmla="*/ 14 h 85"/>
              <a:gd name="T12" fmla="*/ 0 w 188"/>
              <a:gd name="T13" fmla="*/ 85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8" h="85">
                <a:moveTo>
                  <a:pt x="0" y="85"/>
                </a:moveTo>
                <a:cubicBezTo>
                  <a:pt x="188" y="85"/>
                  <a:pt x="188" y="85"/>
                  <a:pt x="188" y="85"/>
                </a:cubicBezTo>
                <a:cubicBezTo>
                  <a:pt x="184" y="31"/>
                  <a:pt x="184" y="31"/>
                  <a:pt x="184" y="31"/>
                </a:cubicBezTo>
                <a:cubicBezTo>
                  <a:pt x="138" y="6"/>
                  <a:pt x="138" y="6"/>
                  <a:pt x="138" y="6"/>
                </a:cubicBezTo>
                <a:cubicBezTo>
                  <a:pt x="75" y="0"/>
                  <a:pt x="75" y="0"/>
                  <a:pt x="75" y="0"/>
                </a:cubicBezTo>
                <a:cubicBezTo>
                  <a:pt x="46" y="14"/>
                  <a:pt x="46" y="14"/>
                  <a:pt x="46" y="14"/>
                </a:cubicBezTo>
                <a:cubicBezTo>
                  <a:pt x="46" y="14"/>
                  <a:pt x="10" y="54"/>
                  <a:pt x="0" y="85"/>
                </a:cubicBezTo>
                <a:close/>
              </a:path>
            </a:pathLst>
          </a:custGeom>
          <a:solidFill>
            <a:srgbClr val="015685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8" name="Freeform 97"/>
          <p:cNvSpPr>
            <a:spLocks/>
          </p:cNvSpPr>
          <p:nvPr/>
        </p:nvSpPr>
        <p:spPr bwMode="auto">
          <a:xfrm>
            <a:off x="8308402" y="1598629"/>
            <a:ext cx="869158" cy="394538"/>
          </a:xfrm>
          <a:custGeom>
            <a:avLst/>
            <a:gdLst>
              <a:gd name="T0" fmla="*/ 188 w 188"/>
              <a:gd name="T1" fmla="*/ 85 h 85"/>
              <a:gd name="T2" fmla="*/ 0 w 188"/>
              <a:gd name="T3" fmla="*/ 85 h 85"/>
              <a:gd name="T4" fmla="*/ 4 w 188"/>
              <a:gd name="T5" fmla="*/ 31 h 85"/>
              <a:gd name="T6" fmla="*/ 50 w 188"/>
              <a:gd name="T7" fmla="*/ 6 h 85"/>
              <a:gd name="T8" fmla="*/ 112 w 188"/>
              <a:gd name="T9" fmla="*/ 0 h 85"/>
              <a:gd name="T10" fmla="*/ 141 w 188"/>
              <a:gd name="T11" fmla="*/ 14 h 85"/>
              <a:gd name="T12" fmla="*/ 188 w 188"/>
              <a:gd name="T13" fmla="*/ 85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8" h="85">
                <a:moveTo>
                  <a:pt x="188" y="85"/>
                </a:moveTo>
                <a:cubicBezTo>
                  <a:pt x="0" y="85"/>
                  <a:pt x="0" y="85"/>
                  <a:pt x="0" y="85"/>
                </a:cubicBezTo>
                <a:cubicBezTo>
                  <a:pt x="4" y="31"/>
                  <a:pt x="4" y="31"/>
                  <a:pt x="4" y="31"/>
                </a:cubicBezTo>
                <a:cubicBezTo>
                  <a:pt x="50" y="6"/>
                  <a:pt x="50" y="6"/>
                  <a:pt x="50" y="6"/>
                </a:cubicBezTo>
                <a:cubicBezTo>
                  <a:pt x="112" y="0"/>
                  <a:pt x="112" y="0"/>
                  <a:pt x="112" y="0"/>
                </a:cubicBezTo>
                <a:cubicBezTo>
                  <a:pt x="141" y="14"/>
                  <a:pt x="141" y="14"/>
                  <a:pt x="141" y="14"/>
                </a:cubicBezTo>
                <a:cubicBezTo>
                  <a:pt x="141" y="14"/>
                  <a:pt x="178" y="54"/>
                  <a:pt x="188" y="85"/>
                </a:cubicBezTo>
                <a:close/>
              </a:path>
            </a:pathLst>
          </a:custGeom>
          <a:solidFill>
            <a:srgbClr val="38906C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9" name="Freeform 98"/>
          <p:cNvSpPr>
            <a:spLocks/>
          </p:cNvSpPr>
          <p:nvPr/>
        </p:nvSpPr>
        <p:spPr bwMode="auto">
          <a:xfrm>
            <a:off x="3169633" y="5772535"/>
            <a:ext cx="869158" cy="394538"/>
          </a:xfrm>
          <a:custGeom>
            <a:avLst/>
            <a:gdLst>
              <a:gd name="T0" fmla="*/ 0 w 188"/>
              <a:gd name="T1" fmla="*/ 0 h 85"/>
              <a:gd name="T2" fmla="*/ 188 w 188"/>
              <a:gd name="T3" fmla="*/ 0 h 85"/>
              <a:gd name="T4" fmla="*/ 184 w 188"/>
              <a:gd name="T5" fmla="*/ 54 h 85"/>
              <a:gd name="T6" fmla="*/ 138 w 188"/>
              <a:gd name="T7" fmla="*/ 79 h 85"/>
              <a:gd name="T8" fmla="*/ 75 w 188"/>
              <a:gd name="T9" fmla="*/ 85 h 85"/>
              <a:gd name="T10" fmla="*/ 46 w 188"/>
              <a:gd name="T11" fmla="*/ 71 h 85"/>
              <a:gd name="T12" fmla="*/ 0 w 188"/>
              <a:gd name="T13" fmla="*/ 0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8" h="85">
                <a:moveTo>
                  <a:pt x="0" y="0"/>
                </a:moveTo>
                <a:cubicBezTo>
                  <a:pt x="188" y="0"/>
                  <a:pt x="188" y="0"/>
                  <a:pt x="188" y="0"/>
                </a:cubicBezTo>
                <a:cubicBezTo>
                  <a:pt x="184" y="54"/>
                  <a:pt x="184" y="54"/>
                  <a:pt x="184" y="54"/>
                </a:cubicBezTo>
                <a:cubicBezTo>
                  <a:pt x="138" y="79"/>
                  <a:pt x="138" y="79"/>
                  <a:pt x="138" y="79"/>
                </a:cubicBezTo>
                <a:cubicBezTo>
                  <a:pt x="75" y="85"/>
                  <a:pt x="75" y="85"/>
                  <a:pt x="75" y="85"/>
                </a:cubicBezTo>
                <a:cubicBezTo>
                  <a:pt x="46" y="71"/>
                  <a:pt x="46" y="71"/>
                  <a:pt x="46" y="71"/>
                </a:cubicBezTo>
                <a:cubicBezTo>
                  <a:pt x="46" y="71"/>
                  <a:pt x="10" y="31"/>
                  <a:pt x="0" y="0"/>
                </a:cubicBezTo>
                <a:close/>
              </a:path>
            </a:pathLst>
          </a:custGeom>
          <a:solidFill>
            <a:srgbClr val="FE8D26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00" name="Freeform 99"/>
          <p:cNvSpPr>
            <a:spLocks/>
          </p:cNvSpPr>
          <p:nvPr/>
        </p:nvSpPr>
        <p:spPr bwMode="auto">
          <a:xfrm>
            <a:off x="8308402" y="5772535"/>
            <a:ext cx="869158" cy="394538"/>
          </a:xfrm>
          <a:custGeom>
            <a:avLst/>
            <a:gdLst>
              <a:gd name="T0" fmla="*/ 188 w 188"/>
              <a:gd name="T1" fmla="*/ 0 h 85"/>
              <a:gd name="T2" fmla="*/ 0 w 188"/>
              <a:gd name="T3" fmla="*/ 0 h 85"/>
              <a:gd name="T4" fmla="*/ 4 w 188"/>
              <a:gd name="T5" fmla="*/ 54 h 85"/>
              <a:gd name="T6" fmla="*/ 50 w 188"/>
              <a:gd name="T7" fmla="*/ 79 h 85"/>
              <a:gd name="T8" fmla="*/ 112 w 188"/>
              <a:gd name="T9" fmla="*/ 85 h 85"/>
              <a:gd name="T10" fmla="*/ 141 w 188"/>
              <a:gd name="T11" fmla="*/ 71 h 85"/>
              <a:gd name="T12" fmla="*/ 188 w 188"/>
              <a:gd name="T13" fmla="*/ 0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8" h="85">
                <a:moveTo>
                  <a:pt x="188" y="0"/>
                </a:moveTo>
                <a:cubicBezTo>
                  <a:pt x="0" y="0"/>
                  <a:pt x="0" y="0"/>
                  <a:pt x="0" y="0"/>
                </a:cubicBezTo>
                <a:cubicBezTo>
                  <a:pt x="4" y="54"/>
                  <a:pt x="4" y="54"/>
                  <a:pt x="4" y="54"/>
                </a:cubicBezTo>
                <a:cubicBezTo>
                  <a:pt x="50" y="79"/>
                  <a:pt x="50" y="79"/>
                  <a:pt x="50" y="79"/>
                </a:cubicBezTo>
                <a:cubicBezTo>
                  <a:pt x="112" y="85"/>
                  <a:pt x="112" y="85"/>
                  <a:pt x="112" y="85"/>
                </a:cubicBezTo>
                <a:cubicBezTo>
                  <a:pt x="141" y="71"/>
                  <a:pt x="141" y="71"/>
                  <a:pt x="141" y="71"/>
                </a:cubicBezTo>
                <a:cubicBezTo>
                  <a:pt x="141" y="71"/>
                  <a:pt x="178" y="31"/>
                  <a:pt x="188" y="0"/>
                </a:cubicBezTo>
                <a:close/>
              </a:path>
            </a:pathLst>
          </a:custGeom>
          <a:solidFill>
            <a:srgbClr val="7C7C7C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91" name="TextBox 116"/>
          <p:cNvSpPr txBox="1"/>
          <p:nvPr/>
        </p:nvSpPr>
        <p:spPr>
          <a:xfrm>
            <a:off x="5345392" y="3741510"/>
            <a:ext cx="1686343" cy="27699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Reporting Lake</a:t>
            </a:r>
          </a:p>
        </p:txBody>
      </p:sp>
      <p:sp>
        <p:nvSpPr>
          <p:cNvPr id="102" name="Freeform 101"/>
          <p:cNvSpPr>
            <a:spLocks/>
          </p:cNvSpPr>
          <p:nvPr/>
        </p:nvSpPr>
        <p:spPr bwMode="auto">
          <a:xfrm>
            <a:off x="3382527" y="1547847"/>
            <a:ext cx="2746146" cy="1712924"/>
          </a:xfrm>
          <a:custGeom>
            <a:avLst/>
            <a:gdLst>
              <a:gd name="T0" fmla="*/ 569 w 594"/>
              <a:gd name="T1" fmla="*/ 114 h 370"/>
              <a:gd name="T2" fmla="*/ 540 w 594"/>
              <a:gd name="T3" fmla="*/ 141 h 370"/>
              <a:gd name="T4" fmla="*/ 428 w 594"/>
              <a:gd name="T5" fmla="*/ 29 h 370"/>
              <a:gd name="T6" fmla="*/ 378 w 594"/>
              <a:gd name="T7" fmla="*/ 5 h 370"/>
              <a:gd name="T8" fmla="*/ 42 w 594"/>
              <a:gd name="T9" fmla="*/ 5 h 370"/>
              <a:gd name="T10" fmla="*/ 0 w 594"/>
              <a:gd name="T11" fmla="*/ 25 h 370"/>
              <a:gd name="T12" fmla="*/ 83 w 594"/>
              <a:gd name="T13" fmla="*/ 37 h 370"/>
              <a:gd name="T14" fmla="*/ 360 w 594"/>
              <a:gd name="T15" fmla="*/ 308 h 370"/>
              <a:gd name="T16" fmla="*/ 317 w 594"/>
              <a:gd name="T17" fmla="*/ 347 h 370"/>
              <a:gd name="T18" fmla="*/ 326 w 594"/>
              <a:gd name="T19" fmla="*/ 370 h 370"/>
              <a:gd name="T20" fmla="*/ 560 w 594"/>
              <a:gd name="T21" fmla="*/ 370 h 370"/>
              <a:gd name="T22" fmla="*/ 594 w 594"/>
              <a:gd name="T23" fmla="*/ 336 h 370"/>
              <a:gd name="T24" fmla="*/ 594 w 594"/>
              <a:gd name="T25" fmla="*/ 125 h 370"/>
              <a:gd name="T26" fmla="*/ 569 w 594"/>
              <a:gd name="T27" fmla="*/ 114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94" h="370">
                <a:moveTo>
                  <a:pt x="569" y="114"/>
                </a:moveTo>
                <a:cubicBezTo>
                  <a:pt x="540" y="141"/>
                  <a:pt x="540" y="141"/>
                  <a:pt x="540" y="141"/>
                </a:cubicBezTo>
                <a:cubicBezTo>
                  <a:pt x="428" y="29"/>
                  <a:pt x="428" y="29"/>
                  <a:pt x="428" y="29"/>
                </a:cubicBezTo>
                <a:cubicBezTo>
                  <a:pt x="428" y="29"/>
                  <a:pt x="408" y="4"/>
                  <a:pt x="378" y="5"/>
                </a:cubicBezTo>
                <a:cubicBezTo>
                  <a:pt x="348" y="6"/>
                  <a:pt x="42" y="5"/>
                  <a:pt x="42" y="5"/>
                </a:cubicBezTo>
                <a:cubicBezTo>
                  <a:pt x="42" y="5"/>
                  <a:pt x="14" y="4"/>
                  <a:pt x="0" y="25"/>
                </a:cubicBezTo>
                <a:cubicBezTo>
                  <a:pt x="0" y="25"/>
                  <a:pt x="43" y="0"/>
                  <a:pt x="83" y="37"/>
                </a:cubicBezTo>
                <a:cubicBezTo>
                  <a:pt x="122" y="73"/>
                  <a:pt x="360" y="308"/>
                  <a:pt x="360" y="308"/>
                </a:cubicBezTo>
                <a:cubicBezTo>
                  <a:pt x="317" y="347"/>
                  <a:pt x="317" y="347"/>
                  <a:pt x="317" y="347"/>
                </a:cubicBezTo>
                <a:cubicBezTo>
                  <a:pt x="304" y="359"/>
                  <a:pt x="308" y="370"/>
                  <a:pt x="326" y="370"/>
                </a:cubicBezTo>
                <a:cubicBezTo>
                  <a:pt x="560" y="370"/>
                  <a:pt x="560" y="370"/>
                  <a:pt x="560" y="370"/>
                </a:cubicBezTo>
                <a:cubicBezTo>
                  <a:pt x="579" y="370"/>
                  <a:pt x="594" y="354"/>
                  <a:pt x="594" y="336"/>
                </a:cubicBezTo>
                <a:cubicBezTo>
                  <a:pt x="594" y="125"/>
                  <a:pt x="594" y="125"/>
                  <a:pt x="594" y="125"/>
                </a:cubicBezTo>
                <a:cubicBezTo>
                  <a:pt x="594" y="106"/>
                  <a:pt x="583" y="101"/>
                  <a:pt x="569" y="114"/>
                </a:cubicBezTo>
                <a:close/>
              </a:path>
            </a:pathLst>
          </a:custGeom>
          <a:solidFill>
            <a:srgbClr val="016AA3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03" name="Freeform 102"/>
          <p:cNvSpPr>
            <a:spLocks/>
          </p:cNvSpPr>
          <p:nvPr/>
        </p:nvSpPr>
        <p:spPr bwMode="auto">
          <a:xfrm>
            <a:off x="6212659" y="1547847"/>
            <a:ext cx="2752006" cy="1712924"/>
          </a:xfrm>
          <a:custGeom>
            <a:avLst/>
            <a:gdLst>
              <a:gd name="T0" fmla="*/ 25 w 595"/>
              <a:gd name="T1" fmla="*/ 114 h 370"/>
              <a:gd name="T2" fmla="*/ 54 w 595"/>
              <a:gd name="T3" fmla="*/ 141 h 370"/>
              <a:gd name="T4" fmla="*/ 166 w 595"/>
              <a:gd name="T5" fmla="*/ 29 h 370"/>
              <a:gd name="T6" fmla="*/ 216 w 595"/>
              <a:gd name="T7" fmla="*/ 5 h 370"/>
              <a:gd name="T8" fmla="*/ 553 w 595"/>
              <a:gd name="T9" fmla="*/ 5 h 370"/>
              <a:gd name="T10" fmla="*/ 595 w 595"/>
              <a:gd name="T11" fmla="*/ 25 h 370"/>
              <a:gd name="T12" fmla="*/ 512 w 595"/>
              <a:gd name="T13" fmla="*/ 37 h 370"/>
              <a:gd name="T14" fmla="*/ 235 w 595"/>
              <a:gd name="T15" fmla="*/ 308 h 370"/>
              <a:gd name="T16" fmla="*/ 277 w 595"/>
              <a:gd name="T17" fmla="*/ 347 h 370"/>
              <a:gd name="T18" fmla="*/ 268 w 595"/>
              <a:gd name="T19" fmla="*/ 370 h 370"/>
              <a:gd name="T20" fmla="*/ 34 w 595"/>
              <a:gd name="T21" fmla="*/ 370 h 370"/>
              <a:gd name="T22" fmla="*/ 0 w 595"/>
              <a:gd name="T23" fmla="*/ 336 h 370"/>
              <a:gd name="T24" fmla="*/ 0 w 595"/>
              <a:gd name="T25" fmla="*/ 125 h 370"/>
              <a:gd name="T26" fmla="*/ 25 w 595"/>
              <a:gd name="T27" fmla="*/ 114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95" h="370">
                <a:moveTo>
                  <a:pt x="25" y="114"/>
                </a:moveTo>
                <a:cubicBezTo>
                  <a:pt x="54" y="141"/>
                  <a:pt x="54" y="141"/>
                  <a:pt x="54" y="141"/>
                </a:cubicBezTo>
                <a:cubicBezTo>
                  <a:pt x="166" y="29"/>
                  <a:pt x="166" y="29"/>
                  <a:pt x="166" y="29"/>
                </a:cubicBezTo>
                <a:cubicBezTo>
                  <a:pt x="166" y="29"/>
                  <a:pt x="187" y="4"/>
                  <a:pt x="216" y="5"/>
                </a:cubicBezTo>
                <a:cubicBezTo>
                  <a:pt x="246" y="6"/>
                  <a:pt x="553" y="5"/>
                  <a:pt x="553" y="5"/>
                </a:cubicBezTo>
                <a:cubicBezTo>
                  <a:pt x="553" y="5"/>
                  <a:pt x="580" y="4"/>
                  <a:pt x="595" y="25"/>
                </a:cubicBezTo>
                <a:cubicBezTo>
                  <a:pt x="595" y="25"/>
                  <a:pt x="552" y="0"/>
                  <a:pt x="512" y="37"/>
                </a:cubicBezTo>
                <a:cubicBezTo>
                  <a:pt x="472" y="73"/>
                  <a:pt x="235" y="308"/>
                  <a:pt x="235" y="308"/>
                </a:cubicBezTo>
                <a:cubicBezTo>
                  <a:pt x="277" y="347"/>
                  <a:pt x="277" y="347"/>
                  <a:pt x="277" y="347"/>
                </a:cubicBezTo>
                <a:cubicBezTo>
                  <a:pt x="291" y="359"/>
                  <a:pt x="287" y="370"/>
                  <a:pt x="268" y="370"/>
                </a:cubicBezTo>
                <a:cubicBezTo>
                  <a:pt x="34" y="370"/>
                  <a:pt x="34" y="370"/>
                  <a:pt x="34" y="370"/>
                </a:cubicBezTo>
                <a:cubicBezTo>
                  <a:pt x="15" y="370"/>
                  <a:pt x="0" y="354"/>
                  <a:pt x="0" y="336"/>
                </a:cubicBezTo>
                <a:cubicBezTo>
                  <a:pt x="0" y="125"/>
                  <a:pt x="0" y="125"/>
                  <a:pt x="0" y="125"/>
                </a:cubicBezTo>
                <a:cubicBezTo>
                  <a:pt x="0" y="106"/>
                  <a:pt x="11" y="101"/>
                  <a:pt x="25" y="114"/>
                </a:cubicBezTo>
                <a:close/>
              </a:path>
            </a:pathLst>
          </a:custGeom>
          <a:solidFill>
            <a:srgbClr val="46B688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04" name="Freeform 103"/>
          <p:cNvSpPr>
            <a:spLocks/>
          </p:cNvSpPr>
          <p:nvPr/>
        </p:nvSpPr>
        <p:spPr bwMode="auto">
          <a:xfrm>
            <a:off x="3382527" y="4504933"/>
            <a:ext cx="2746146" cy="1712924"/>
          </a:xfrm>
          <a:custGeom>
            <a:avLst/>
            <a:gdLst>
              <a:gd name="T0" fmla="*/ 569 w 594"/>
              <a:gd name="T1" fmla="*/ 256 h 370"/>
              <a:gd name="T2" fmla="*/ 540 w 594"/>
              <a:gd name="T3" fmla="*/ 229 h 370"/>
              <a:gd name="T4" fmla="*/ 428 w 594"/>
              <a:gd name="T5" fmla="*/ 341 h 370"/>
              <a:gd name="T6" fmla="*/ 378 w 594"/>
              <a:gd name="T7" fmla="*/ 364 h 370"/>
              <a:gd name="T8" fmla="*/ 42 w 594"/>
              <a:gd name="T9" fmla="*/ 364 h 370"/>
              <a:gd name="T10" fmla="*/ 0 w 594"/>
              <a:gd name="T11" fmla="*/ 345 h 370"/>
              <a:gd name="T12" fmla="*/ 83 w 594"/>
              <a:gd name="T13" fmla="*/ 333 h 370"/>
              <a:gd name="T14" fmla="*/ 360 w 594"/>
              <a:gd name="T15" fmla="*/ 62 h 370"/>
              <a:gd name="T16" fmla="*/ 317 w 594"/>
              <a:gd name="T17" fmla="*/ 23 h 370"/>
              <a:gd name="T18" fmla="*/ 326 w 594"/>
              <a:gd name="T19" fmla="*/ 0 h 370"/>
              <a:gd name="T20" fmla="*/ 560 w 594"/>
              <a:gd name="T21" fmla="*/ 0 h 370"/>
              <a:gd name="T22" fmla="*/ 594 w 594"/>
              <a:gd name="T23" fmla="*/ 34 h 370"/>
              <a:gd name="T24" fmla="*/ 594 w 594"/>
              <a:gd name="T25" fmla="*/ 245 h 370"/>
              <a:gd name="T26" fmla="*/ 569 w 594"/>
              <a:gd name="T27" fmla="*/ 256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94" h="370">
                <a:moveTo>
                  <a:pt x="569" y="256"/>
                </a:moveTo>
                <a:cubicBezTo>
                  <a:pt x="540" y="229"/>
                  <a:pt x="540" y="229"/>
                  <a:pt x="540" y="229"/>
                </a:cubicBezTo>
                <a:cubicBezTo>
                  <a:pt x="428" y="341"/>
                  <a:pt x="428" y="341"/>
                  <a:pt x="428" y="341"/>
                </a:cubicBezTo>
                <a:cubicBezTo>
                  <a:pt x="428" y="341"/>
                  <a:pt x="408" y="365"/>
                  <a:pt x="378" y="364"/>
                </a:cubicBezTo>
                <a:cubicBezTo>
                  <a:pt x="348" y="363"/>
                  <a:pt x="42" y="364"/>
                  <a:pt x="42" y="364"/>
                </a:cubicBezTo>
                <a:cubicBezTo>
                  <a:pt x="42" y="364"/>
                  <a:pt x="14" y="365"/>
                  <a:pt x="0" y="345"/>
                </a:cubicBezTo>
                <a:cubicBezTo>
                  <a:pt x="0" y="345"/>
                  <a:pt x="43" y="370"/>
                  <a:pt x="83" y="333"/>
                </a:cubicBezTo>
                <a:cubicBezTo>
                  <a:pt x="122" y="296"/>
                  <a:pt x="360" y="62"/>
                  <a:pt x="360" y="62"/>
                </a:cubicBezTo>
                <a:cubicBezTo>
                  <a:pt x="317" y="23"/>
                  <a:pt x="317" y="23"/>
                  <a:pt x="317" y="23"/>
                </a:cubicBezTo>
                <a:cubicBezTo>
                  <a:pt x="304" y="10"/>
                  <a:pt x="308" y="0"/>
                  <a:pt x="326" y="0"/>
                </a:cubicBezTo>
                <a:cubicBezTo>
                  <a:pt x="560" y="0"/>
                  <a:pt x="560" y="0"/>
                  <a:pt x="560" y="0"/>
                </a:cubicBezTo>
                <a:cubicBezTo>
                  <a:pt x="579" y="0"/>
                  <a:pt x="594" y="15"/>
                  <a:pt x="594" y="34"/>
                </a:cubicBezTo>
                <a:cubicBezTo>
                  <a:pt x="594" y="245"/>
                  <a:pt x="594" y="245"/>
                  <a:pt x="594" y="245"/>
                </a:cubicBezTo>
                <a:cubicBezTo>
                  <a:pt x="594" y="263"/>
                  <a:pt x="583" y="268"/>
                  <a:pt x="569" y="256"/>
                </a:cubicBezTo>
                <a:close/>
              </a:path>
            </a:pathLst>
          </a:custGeom>
          <a:solidFill>
            <a:srgbClr val="FEA34F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05" name="Freeform 104"/>
          <p:cNvSpPr>
            <a:spLocks/>
          </p:cNvSpPr>
          <p:nvPr/>
        </p:nvSpPr>
        <p:spPr bwMode="auto">
          <a:xfrm>
            <a:off x="6212659" y="4504933"/>
            <a:ext cx="2752006" cy="1712924"/>
          </a:xfrm>
          <a:custGeom>
            <a:avLst/>
            <a:gdLst>
              <a:gd name="T0" fmla="*/ 25 w 595"/>
              <a:gd name="T1" fmla="*/ 256 h 370"/>
              <a:gd name="T2" fmla="*/ 54 w 595"/>
              <a:gd name="T3" fmla="*/ 229 h 370"/>
              <a:gd name="T4" fmla="*/ 166 w 595"/>
              <a:gd name="T5" fmla="*/ 341 h 370"/>
              <a:gd name="T6" fmla="*/ 216 w 595"/>
              <a:gd name="T7" fmla="*/ 364 h 370"/>
              <a:gd name="T8" fmla="*/ 553 w 595"/>
              <a:gd name="T9" fmla="*/ 364 h 370"/>
              <a:gd name="T10" fmla="*/ 595 w 595"/>
              <a:gd name="T11" fmla="*/ 345 h 370"/>
              <a:gd name="T12" fmla="*/ 512 w 595"/>
              <a:gd name="T13" fmla="*/ 333 h 370"/>
              <a:gd name="T14" fmla="*/ 235 w 595"/>
              <a:gd name="T15" fmla="*/ 62 h 370"/>
              <a:gd name="T16" fmla="*/ 277 w 595"/>
              <a:gd name="T17" fmla="*/ 23 h 370"/>
              <a:gd name="T18" fmla="*/ 268 w 595"/>
              <a:gd name="T19" fmla="*/ 0 h 370"/>
              <a:gd name="T20" fmla="*/ 34 w 595"/>
              <a:gd name="T21" fmla="*/ 0 h 370"/>
              <a:gd name="T22" fmla="*/ 0 w 595"/>
              <a:gd name="T23" fmla="*/ 34 h 370"/>
              <a:gd name="T24" fmla="*/ 0 w 595"/>
              <a:gd name="T25" fmla="*/ 245 h 370"/>
              <a:gd name="T26" fmla="*/ 25 w 595"/>
              <a:gd name="T27" fmla="*/ 256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95" h="370">
                <a:moveTo>
                  <a:pt x="25" y="256"/>
                </a:moveTo>
                <a:cubicBezTo>
                  <a:pt x="54" y="229"/>
                  <a:pt x="54" y="229"/>
                  <a:pt x="54" y="229"/>
                </a:cubicBezTo>
                <a:cubicBezTo>
                  <a:pt x="166" y="341"/>
                  <a:pt x="166" y="341"/>
                  <a:pt x="166" y="341"/>
                </a:cubicBezTo>
                <a:cubicBezTo>
                  <a:pt x="166" y="341"/>
                  <a:pt x="187" y="365"/>
                  <a:pt x="216" y="364"/>
                </a:cubicBezTo>
                <a:cubicBezTo>
                  <a:pt x="246" y="363"/>
                  <a:pt x="553" y="364"/>
                  <a:pt x="553" y="364"/>
                </a:cubicBezTo>
                <a:cubicBezTo>
                  <a:pt x="553" y="364"/>
                  <a:pt x="580" y="365"/>
                  <a:pt x="595" y="345"/>
                </a:cubicBezTo>
                <a:cubicBezTo>
                  <a:pt x="595" y="345"/>
                  <a:pt x="552" y="370"/>
                  <a:pt x="512" y="333"/>
                </a:cubicBezTo>
                <a:cubicBezTo>
                  <a:pt x="472" y="296"/>
                  <a:pt x="235" y="62"/>
                  <a:pt x="235" y="62"/>
                </a:cubicBezTo>
                <a:cubicBezTo>
                  <a:pt x="277" y="23"/>
                  <a:pt x="277" y="23"/>
                  <a:pt x="277" y="23"/>
                </a:cubicBezTo>
                <a:cubicBezTo>
                  <a:pt x="291" y="10"/>
                  <a:pt x="287" y="0"/>
                  <a:pt x="268" y="0"/>
                </a:cubicBezTo>
                <a:cubicBezTo>
                  <a:pt x="34" y="0"/>
                  <a:pt x="34" y="0"/>
                  <a:pt x="34" y="0"/>
                </a:cubicBezTo>
                <a:cubicBezTo>
                  <a:pt x="15" y="0"/>
                  <a:pt x="0" y="15"/>
                  <a:pt x="0" y="34"/>
                </a:cubicBezTo>
                <a:cubicBezTo>
                  <a:pt x="0" y="245"/>
                  <a:pt x="0" y="245"/>
                  <a:pt x="0" y="245"/>
                </a:cubicBezTo>
                <a:cubicBezTo>
                  <a:pt x="0" y="263"/>
                  <a:pt x="11" y="268"/>
                  <a:pt x="25" y="256"/>
                </a:cubicBezTo>
                <a:close/>
              </a:path>
            </a:pathLst>
          </a:custGeom>
          <a:solidFill>
            <a:srgbClr val="AAAAAA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107" name="Group 106"/>
          <p:cNvGrpSpPr/>
          <p:nvPr/>
        </p:nvGrpSpPr>
        <p:grpSpPr>
          <a:xfrm>
            <a:off x="642282" y="4389598"/>
            <a:ext cx="3435337" cy="1292164"/>
            <a:chOff x="111278" y="4313156"/>
            <a:chExt cx="2792190" cy="1050250"/>
          </a:xfrm>
        </p:grpSpPr>
        <p:sp>
          <p:nvSpPr>
            <p:cNvPr id="134" name="TextBox 258"/>
            <p:cNvSpPr txBox="1"/>
            <p:nvPr/>
          </p:nvSpPr>
          <p:spPr>
            <a:xfrm>
              <a:off x="2545888" y="4913125"/>
              <a:ext cx="357580" cy="45028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3600" b="1" dirty="0">
                  <a:solidFill>
                    <a:schemeClr val="bg1"/>
                  </a:solidFill>
                </a:rPr>
                <a:t>2</a:t>
              </a:r>
            </a:p>
          </p:txBody>
        </p:sp>
        <p:grpSp>
          <p:nvGrpSpPr>
            <p:cNvPr id="135" name="Group 134"/>
            <p:cNvGrpSpPr/>
            <p:nvPr/>
          </p:nvGrpSpPr>
          <p:grpSpPr>
            <a:xfrm>
              <a:off x="111278" y="4313156"/>
              <a:ext cx="2792190" cy="604969"/>
              <a:chOff x="111278" y="4322682"/>
              <a:chExt cx="2792190" cy="604969"/>
            </a:xfrm>
          </p:grpSpPr>
          <p:sp>
            <p:nvSpPr>
              <p:cNvPr id="136" name="TextBox 268"/>
              <p:cNvSpPr txBox="1"/>
              <p:nvPr/>
            </p:nvSpPr>
            <p:spPr>
              <a:xfrm>
                <a:off x="111278" y="4477370"/>
                <a:ext cx="2792190" cy="450281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US" sz="1200" dirty="0">
                    <a:solidFill>
                      <a:schemeClr val="bg1"/>
                    </a:solidFill>
                  </a:rPr>
                  <a:t>Lorem Ipsum is simply dummy text of the printing and typesetting industry. Lorem Ipsum has been the industry's standard dummy text ever since the 1500s.</a:t>
                </a:r>
              </a:p>
            </p:txBody>
          </p:sp>
          <p:sp>
            <p:nvSpPr>
              <p:cNvPr id="137" name="TextBox 259"/>
              <p:cNvSpPr txBox="1"/>
              <p:nvPr/>
            </p:nvSpPr>
            <p:spPr>
              <a:xfrm>
                <a:off x="1898098" y="4322682"/>
                <a:ext cx="1005370" cy="150094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US" sz="1200" b="1" dirty="0">
                    <a:solidFill>
                      <a:schemeClr val="bg1"/>
                    </a:solidFill>
                  </a:rPr>
                  <a:t>LOREM</a:t>
                </a:r>
                <a:r>
                  <a:rPr lang="en-US" sz="1200" b="1" dirty="0"/>
                  <a:t> </a:t>
                </a:r>
                <a:r>
                  <a:rPr lang="en-US" sz="1200" b="1" dirty="0">
                    <a:solidFill>
                      <a:schemeClr val="bg1"/>
                    </a:solidFill>
                  </a:rPr>
                  <a:t>IPSUM</a:t>
                </a:r>
                <a:r>
                  <a:rPr lang="en-US" sz="1200" b="1" dirty="0"/>
                  <a:t> </a:t>
                </a:r>
              </a:p>
            </p:txBody>
          </p:sp>
        </p:grpSp>
      </p:grpSp>
      <p:grpSp>
        <p:nvGrpSpPr>
          <p:cNvPr id="131" name="Group 130"/>
          <p:cNvGrpSpPr/>
          <p:nvPr/>
        </p:nvGrpSpPr>
        <p:grpSpPr>
          <a:xfrm>
            <a:off x="642282" y="2494757"/>
            <a:ext cx="3435337" cy="753232"/>
            <a:chOff x="524541" y="2773061"/>
            <a:chExt cx="2792190" cy="612216"/>
          </a:xfrm>
        </p:grpSpPr>
        <p:sp>
          <p:nvSpPr>
            <p:cNvPr id="132" name="TextBox 247"/>
            <p:cNvSpPr txBox="1"/>
            <p:nvPr/>
          </p:nvSpPr>
          <p:spPr>
            <a:xfrm>
              <a:off x="2311361" y="2773061"/>
              <a:ext cx="1005370" cy="15009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200" b="1" dirty="0">
                  <a:solidFill>
                    <a:schemeClr val="bg1"/>
                  </a:solidFill>
                </a:rPr>
                <a:t>LOREM IPSUM </a:t>
              </a:r>
            </a:p>
          </p:txBody>
        </p:sp>
        <p:sp>
          <p:nvSpPr>
            <p:cNvPr id="133" name="TextBox 267"/>
            <p:cNvSpPr txBox="1"/>
            <p:nvPr/>
          </p:nvSpPr>
          <p:spPr>
            <a:xfrm>
              <a:off x="524541" y="2934996"/>
              <a:ext cx="2792190" cy="45028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200" dirty="0">
                  <a:solidFill>
                    <a:schemeClr val="bg1"/>
                  </a:solidFill>
                </a:rPr>
                <a:t>Lorem Ipsum is simply dummy text of the printing and typesetting industry. Lorem Ipsum has been the industry's standard dummy text ever since the 1500s.</a:t>
              </a:r>
            </a:p>
          </p:txBody>
        </p:sp>
      </p:grpSp>
      <p:grpSp>
        <p:nvGrpSpPr>
          <p:cNvPr id="109" name="Group 108"/>
          <p:cNvGrpSpPr/>
          <p:nvPr/>
        </p:nvGrpSpPr>
        <p:grpSpPr>
          <a:xfrm>
            <a:off x="8278716" y="4359293"/>
            <a:ext cx="3280146" cy="1375427"/>
            <a:chOff x="6204132" y="4327233"/>
            <a:chExt cx="2666053" cy="1117924"/>
          </a:xfrm>
        </p:grpSpPr>
        <p:sp>
          <p:nvSpPr>
            <p:cNvPr id="126" name="TextBox 265"/>
            <p:cNvSpPr txBox="1"/>
            <p:nvPr/>
          </p:nvSpPr>
          <p:spPr>
            <a:xfrm>
              <a:off x="6204132" y="4994877"/>
              <a:ext cx="357580" cy="450280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3600" b="1" dirty="0">
                  <a:solidFill>
                    <a:schemeClr val="bg1"/>
                  </a:solidFill>
                </a:rPr>
                <a:t>4</a:t>
              </a:r>
            </a:p>
          </p:txBody>
        </p:sp>
        <p:grpSp>
          <p:nvGrpSpPr>
            <p:cNvPr id="127" name="Group 126"/>
            <p:cNvGrpSpPr/>
            <p:nvPr/>
          </p:nvGrpSpPr>
          <p:grpSpPr>
            <a:xfrm>
              <a:off x="6204132" y="4327233"/>
              <a:ext cx="2666053" cy="755062"/>
              <a:chOff x="2109216" y="4336759"/>
              <a:chExt cx="2666053" cy="755062"/>
            </a:xfrm>
          </p:grpSpPr>
          <p:sp>
            <p:nvSpPr>
              <p:cNvPr id="128" name="TextBox 276"/>
              <p:cNvSpPr txBox="1"/>
              <p:nvPr/>
            </p:nvSpPr>
            <p:spPr>
              <a:xfrm>
                <a:off x="2109216" y="4491447"/>
                <a:ext cx="2666053" cy="600374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200" dirty="0">
                    <a:solidFill>
                      <a:schemeClr val="bg1"/>
                    </a:solidFill>
                  </a:rPr>
                  <a:t>Lorem Ipsum is simply dummy text of the printing and typesetting industry. Lorem Ipsum has been the industry's standard dummy text ever since the 1500s.</a:t>
                </a:r>
              </a:p>
            </p:txBody>
          </p:sp>
          <p:sp>
            <p:nvSpPr>
              <p:cNvPr id="129" name="TextBox 277"/>
              <p:cNvSpPr txBox="1"/>
              <p:nvPr/>
            </p:nvSpPr>
            <p:spPr>
              <a:xfrm>
                <a:off x="2109216" y="4336759"/>
                <a:ext cx="1005370" cy="150094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200" b="1" dirty="0">
                    <a:solidFill>
                      <a:schemeClr val="bg1"/>
                    </a:solidFill>
                  </a:rPr>
                  <a:t>LOREM IPSUM </a:t>
                </a:r>
              </a:p>
            </p:txBody>
          </p:sp>
        </p:grpSp>
      </p:grpSp>
      <p:grpSp>
        <p:nvGrpSpPr>
          <p:cNvPr id="110" name="Group 109"/>
          <p:cNvGrpSpPr/>
          <p:nvPr/>
        </p:nvGrpSpPr>
        <p:grpSpPr>
          <a:xfrm>
            <a:off x="8269568" y="1993415"/>
            <a:ext cx="3280149" cy="1496389"/>
            <a:chOff x="6204131" y="2319128"/>
            <a:chExt cx="2666056" cy="1216243"/>
          </a:xfrm>
        </p:grpSpPr>
        <p:sp>
          <p:nvSpPr>
            <p:cNvPr id="122" name="TextBox 262"/>
            <p:cNvSpPr txBox="1"/>
            <p:nvPr/>
          </p:nvSpPr>
          <p:spPr>
            <a:xfrm>
              <a:off x="6204133" y="2319128"/>
              <a:ext cx="357580" cy="45028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3600" b="1" dirty="0">
                  <a:solidFill>
                    <a:schemeClr val="bg1"/>
                  </a:solidFill>
                </a:rPr>
                <a:t>3</a:t>
              </a:r>
            </a:p>
          </p:txBody>
        </p:sp>
        <p:grpSp>
          <p:nvGrpSpPr>
            <p:cNvPr id="123" name="Group 122"/>
            <p:cNvGrpSpPr/>
            <p:nvPr/>
          </p:nvGrpSpPr>
          <p:grpSpPr>
            <a:xfrm>
              <a:off x="6204131" y="2773061"/>
              <a:ext cx="2666056" cy="762310"/>
              <a:chOff x="2109215" y="2773061"/>
              <a:chExt cx="2666056" cy="762310"/>
            </a:xfrm>
          </p:grpSpPr>
          <p:sp>
            <p:nvSpPr>
              <p:cNvPr id="124" name="TextBox 279"/>
              <p:cNvSpPr txBox="1"/>
              <p:nvPr/>
            </p:nvSpPr>
            <p:spPr>
              <a:xfrm>
                <a:off x="2109217" y="2773061"/>
                <a:ext cx="1005370" cy="150094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200" b="1" dirty="0">
                    <a:solidFill>
                      <a:schemeClr val="bg1"/>
                    </a:solidFill>
                  </a:rPr>
                  <a:t>LOREM IPSUM </a:t>
                </a:r>
              </a:p>
            </p:txBody>
          </p:sp>
          <p:sp>
            <p:nvSpPr>
              <p:cNvPr id="125" name="TextBox 280"/>
              <p:cNvSpPr txBox="1"/>
              <p:nvPr/>
            </p:nvSpPr>
            <p:spPr>
              <a:xfrm>
                <a:off x="2109215" y="2934996"/>
                <a:ext cx="2666056" cy="600375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200" dirty="0">
                    <a:solidFill>
                      <a:schemeClr val="bg1"/>
                    </a:solidFill>
                  </a:rPr>
                  <a:t>Lorem Ipsum is simply dummy text of the printing and typesetting industry. Lorem Ipsum has been the industry's standard dummy text ever since the 1500s.</a:t>
                </a:r>
              </a:p>
            </p:txBody>
          </p:sp>
        </p:grpSp>
      </p:grpSp>
      <p:sp>
        <p:nvSpPr>
          <p:cNvPr id="55" name="TextBox 258">
            <a:extLst>
              <a:ext uri="{FF2B5EF4-FFF2-40B4-BE49-F238E27FC236}">
                <a16:creationId xmlns:a16="http://schemas.microsoft.com/office/drawing/2014/main" id="{2E5608FC-FAC6-4D09-87EC-6E045043CCC5}"/>
              </a:ext>
            </a:extLst>
          </p:cNvPr>
          <p:cNvSpPr txBox="1"/>
          <p:nvPr/>
        </p:nvSpPr>
        <p:spPr>
          <a:xfrm>
            <a:off x="3627629" y="1992359"/>
            <a:ext cx="439944" cy="55399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3600" b="1" dirty="0">
                <a:solidFill>
                  <a:schemeClr val="bg1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0878925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551B425-EC71-46AB-B715-C8852DEAE50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551B425-EC71-46AB-B715-C8852DEAE50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BEF446CE-EEFC-48D4-A9C7-CB26A5232CF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triangle">
            <a:avLst>
              <a:gd name="adj" fmla="val 100000"/>
            </a:avLst>
          </a:prstGeom>
          <a:gradFill>
            <a:gsLst>
              <a:gs pos="0">
                <a:srgbClr val="12161C">
                  <a:alpha val="10000"/>
                </a:srgbClr>
              </a:gs>
              <a:gs pos="100000">
                <a:srgbClr val="12161C">
                  <a:alpha val="2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74E0182-10C0-4BE7-95D1-F174DD6589BB}"/>
              </a:ext>
            </a:extLst>
          </p:cNvPr>
          <p:cNvSpPr>
            <a:spLocks noGrp="1"/>
          </p:cNvSpPr>
          <p:nvPr/>
        </p:nvSpPr>
        <p:spPr>
          <a:xfrm>
            <a:off x="387350" y="365125"/>
            <a:ext cx="11417300" cy="835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Circle Mind Map</a:t>
            </a:r>
            <a:endParaRPr lang="en-US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AE092646-55D9-487E-AE6A-76670D867484}"/>
              </a:ext>
            </a:extLst>
          </p:cNvPr>
          <p:cNvSpPr>
            <a:spLocks noGrp="1"/>
          </p:cNvSpPr>
          <p:nvPr/>
        </p:nvSpPr>
        <p:spPr>
          <a:xfrm>
            <a:off x="11396662" y="6356350"/>
            <a:ext cx="407987" cy="365125"/>
          </a:xfrm>
          <a:prstGeom prst="rect">
            <a:avLst/>
          </a:prstGeom>
          <a:solidFill>
            <a:srgbClr val="0BD0D9"/>
          </a:solidFill>
          <a:effectLst>
            <a:outerShdw dist="38100" dir="10800000" algn="r" rotWithShape="0">
              <a:srgbClr val="CEDC00"/>
            </a:outerShdw>
          </a:effectLst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B09A56-2F1D-4318-9240-BF2B90CE364C}" type="slidenum">
              <a:rPr lang="en-US" smtClean="0"/>
              <a:pPr/>
              <a:t>10</a:t>
            </a:fld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488B78F-2BF9-4FB1-81BA-510464434560}"/>
              </a:ext>
            </a:extLst>
          </p:cNvPr>
          <p:cNvGrpSpPr/>
          <p:nvPr/>
        </p:nvGrpSpPr>
        <p:grpSpPr>
          <a:xfrm>
            <a:off x="420420" y="2990850"/>
            <a:ext cx="3796773" cy="1581150"/>
            <a:chOff x="-609600" y="2990850"/>
            <a:chExt cx="13792200" cy="1581150"/>
          </a:xfrm>
        </p:grpSpPr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0DC82D13-D241-4109-AB01-2F12B1C3AC2F}"/>
                </a:ext>
              </a:extLst>
            </p:cNvPr>
            <p:cNvCxnSpPr/>
            <p:nvPr/>
          </p:nvCxnSpPr>
          <p:spPr>
            <a:xfrm>
              <a:off x="-609600" y="2990850"/>
              <a:ext cx="13792200" cy="0"/>
            </a:xfrm>
            <a:prstGeom prst="line">
              <a:avLst/>
            </a:prstGeom>
            <a:ln>
              <a:solidFill>
                <a:schemeClr val="bg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8DEA20A6-B6C7-4AE3-8F41-DD80A18A503B}"/>
                </a:ext>
              </a:extLst>
            </p:cNvPr>
            <p:cNvCxnSpPr/>
            <p:nvPr/>
          </p:nvCxnSpPr>
          <p:spPr>
            <a:xfrm>
              <a:off x="-609600" y="4572000"/>
              <a:ext cx="13792200" cy="0"/>
            </a:xfrm>
            <a:prstGeom prst="line">
              <a:avLst/>
            </a:prstGeom>
            <a:ln>
              <a:solidFill>
                <a:schemeClr val="bg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9" descr="Text&#10;&#10;Description automatically generated">
            <a:extLst>
              <a:ext uri="{FF2B5EF4-FFF2-40B4-BE49-F238E27FC236}">
                <a16:creationId xmlns:a16="http://schemas.microsoft.com/office/drawing/2014/main" id="{C2D2F79E-0A67-4599-BFCC-45C17394ABA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841744" y="2527167"/>
            <a:ext cx="2508514" cy="2508514"/>
          </a:xfrm>
          <a:custGeom>
            <a:avLst/>
            <a:gdLst>
              <a:gd name="connsiteX0" fmla="*/ 1254257 w 2508514"/>
              <a:gd name="connsiteY0" fmla="*/ 0 h 2508514"/>
              <a:gd name="connsiteX1" fmla="*/ 2508514 w 2508514"/>
              <a:gd name="connsiteY1" fmla="*/ 1254257 h 2508514"/>
              <a:gd name="connsiteX2" fmla="*/ 1254257 w 2508514"/>
              <a:gd name="connsiteY2" fmla="*/ 2508514 h 2508514"/>
              <a:gd name="connsiteX3" fmla="*/ 0 w 2508514"/>
              <a:gd name="connsiteY3" fmla="*/ 1254257 h 2508514"/>
              <a:gd name="connsiteX4" fmla="*/ 1254257 w 2508514"/>
              <a:gd name="connsiteY4" fmla="*/ 0 h 2508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8514" h="2508514">
                <a:moveTo>
                  <a:pt x="1254257" y="0"/>
                </a:moveTo>
                <a:cubicBezTo>
                  <a:pt x="1946964" y="0"/>
                  <a:pt x="2508514" y="561550"/>
                  <a:pt x="2508514" y="1254257"/>
                </a:cubicBezTo>
                <a:cubicBezTo>
                  <a:pt x="2508514" y="1946964"/>
                  <a:pt x="1946964" y="2508514"/>
                  <a:pt x="1254257" y="2508514"/>
                </a:cubicBezTo>
                <a:cubicBezTo>
                  <a:pt x="561550" y="2508514"/>
                  <a:pt x="0" y="1946964"/>
                  <a:pt x="0" y="1254257"/>
                </a:cubicBezTo>
                <a:cubicBezTo>
                  <a:pt x="0" y="561550"/>
                  <a:pt x="561550" y="0"/>
                  <a:pt x="1254257" y="0"/>
                </a:cubicBezTo>
                <a:close/>
              </a:path>
            </a:pathLst>
          </a:cu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865EBD47-CA10-4974-A429-7685EC4D384F}"/>
              </a:ext>
            </a:extLst>
          </p:cNvPr>
          <p:cNvSpPr/>
          <p:nvPr/>
        </p:nvSpPr>
        <p:spPr>
          <a:xfrm>
            <a:off x="4716318" y="2401742"/>
            <a:ext cx="2759364" cy="2759364"/>
          </a:xfrm>
          <a:prstGeom prst="ellipse">
            <a:avLst/>
          </a:prstGeom>
          <a:solidFill>
            <a:schemeClr val="bg1">
              <a:alpha val="50000"/>
            </a:schemeClr>
          </a:solidFill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E86599E-8B30-4FD4-BB16-9F955F5B2F73}"/>
              </a:ext>
            </a:extLst>
          </p:cNvPr>
          <p:cNvSpPr/>
          <p:nvPr/>
        </p:nvSpPr>
        <p:spPr>
          <a:xfrm>
            <a:off x="2156459" y="1980631"/>
            <a:ext cx="2065021" cy="439289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CEDC00"/>
              </a:gs>
              <a:gs pos="100000">
                <a:srgbClr val="F0FF29"/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43200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400" b="1" dirty="0">
                <a:solidFill>
                  <a:schemeClr val="tx1"/>
                </a:solidFill>
                <a:latin typeface="Georgia" panose="02040502050405020303" pitchFamily="18" charset="0"/>
              </a:rPr>
              <a:t>Lorem ipsum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113D1C5-B7D6-484B-9AB3-54DFCF92467E}"/>
              </a:ext>
            </a:extLst>
          </p:cNvPr>
          <p:cNvSpPr/>
          <p:nvPr/>
        </p:nvSpPr>
        <p:spPr>
          <a:xfrm>
            <a:off x="2156459" y="3561781"/>
            <a:ext cx="2065021" cy="439289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CEDC00"/>
              </a:gs>
              <a:gs pos="100000">
                <a:srgbClr val="F0FF29"/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43200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400" b="1" dirty="0">
                <a:solidFill>
                  <a:schemeClr val="tx1"/>
                </a:solidFill>
                <a:latin typeface="Georgia" panose="02040502050405020303" pitchFamily="18" charset="0"/>
              </a:rPr>
              <a:t>Lorem ipsum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10E30328-3A11-4F6C-9713-CBF342915A64}"/>
              </a:ext>
            </a:extLst>
          </p:cNvPr>
          <p:cNvSpPr/>
          <p:nvPr/>
        </p:nvSpPr>
        <p:spPr>
          <a:xfrm>
            <a:off x="2156459" y="5142930"/>
            <a:ext cx="2065021" cy="439289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CEDC00"/>
              </a:gs>
              <a:gs pos="100000">
                <a:srgbClr val="F0FF29"/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43200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400" b="1" dirty="0">
                <a:solidFill>
                  <a:schemeClr val="tx1"/>
                </a:solidFill>
                <a:latin typeface="Georgia" panose="02040502050405020303" pitchFamily="18" charset="0"/>
              </a:rPr>
              <a:t>Lorem ipsum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A56585A-EF52-4393-8CE0-F2CF772057FD}"/>
              </a:ext>
            </a:extLst>
          </p:cNvPr>
          <p:cNvSpPr/>
          <p:nvPr/>
        </p:nvSpPr>
        <p:spPr>
          <a:xfrm>
            <a:off x="3825875" y="2054622"/>
            <a:ext cx="291306" cy="29130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E3D7FC8-C1F5-4E06-A360-AB1095BDE730}"/>
              </a:ext>
            </a:extLst>
          </p:cNvPr>
          <p:cNvSpPr/>
          <p:nvPr/>
        </p:nvSpPr>
        <p:spPr>
          <a:xfrm>
            <a:off x="3825875" y="3635772"/>
            <a:ext cx="291306" cy="29130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2C5F432-42F3-4A97-ADB0-B77090B25A13}"/>
              </a:ext>
            </a:extLst>
          </p:cNvPr>
          <p:cNvSpPr/>
          <p:nvPr/>
        </p:nvSpPr>
        <p:spPr>
          <a:xfrm>
            <a:off x="3825875" y="5216921"/>
            <a:ext cx="291306" cy="29130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DF24087D-5C2C-4BA1-BFFC-CE6D4E72CBDB}"/>
              </a:ext>
            </a:extLst>
          </p:cNvPr>
          <p:cNvSpPr/>
          <p:nvPr/>
        </p:nvSpPr>
        <p:spPr>
          <a:xfrm>
            <a:off x="7970520" y="1980631"/>
            <a:ext cx="2065021" cy="439289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BD0D9"/>
              </a:gs>
              <a:gs pos="100000">
                <a:srgbClr val="41ECF5"/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  <a:latin typeface="Georgia" panose="02040502050405020303" pitchFamily="18" charset="0"/>
              </a:rPr>
              <a:t>Lorem ipsum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9CE0E94F-AC08-4C10-AE68-FF4FD85EB8FA}"/>
              </a:ext>
            </a:extLst>
          </p:cNvPr>
          <p:cNvSpPr/>
          <p:nvPr/>
        </p:nvSpPr>
        <p:spPr>
          <a:xfrm>
            <a:off x="7970520" y="3561781"/>
            <a:ext cx="2065021" cy="439289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BD0D9"/>
              </a:gs>
              <a:gs pos="100000">
                <a:srgbClr val="41ECF5"/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  <a:latin typeface="Georgia" panose="02040502050405020303" pitchFamily="18" charset="0"/>
              </a:rPr>
              <a:t>Lorem ipsum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58BE8263-6D43-4074-A0C8-E09C2125880E}"/>
              </a:ext>
            </a:extLst>
          </p:cNvPr>
          <p:cNvSpPr/>
          <p:nvPr/>
        </p:nvSpPr>
        <p:spPr>
          <a:xfrm>
            <a:off x="7970520" y="5142930"/>
            <a:ext cx="2065021" cy="439289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BD0D9"/>
              </a:gs>
              <a:gs pos="100000">
                <a:srgbClr val="41ECF5"/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tx1"/>
                </a:solidFill>
                <a:latin typeface="Georgia" panose="02040502050405020303" pitchFamily="18" charset="0"/>
              </a:rPr>
              <a:t>Lorem ipsum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997E9EE7-422A-4F9A-9436-A4FC66B4F53A}"/>
              </a:ext>
            </a:extLst>
          </p:cNvPr>
          <p:cNvSpPr/>
          <p:nvPr/>
        </p:nvSpPr>
        <p:spPr>
          <a:xfrm>
            <a:off x="8085282" y="2054622"/>
            <a:ext cx="291306" cy="29130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232FF31A-DF61-4AF1-9BA4-57B12D7FF82B}"/>
              </a:ext>
            </a:extLst>
          </p:cNvPr>
          <p:cNvSpPr/>
          <p:nvPr/>
        </p:nvSpPr>
        <p:spPr>
          <a:xfrm>
            <a:off x="8085282" y="3635772"/>
            <a:ext cx="291306" cy="29130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693EC4FD-0CF3-41D6-8F89-101FFF871259}"/>
              </a:ext>
            </a:extLst>
          </p:cNvPr>
          <p:cNvSpPr/>
          <p:nvPr/>
        </p:nvSpPr>
        <p:spPr>
          <a:xfrm>
            <a:off x="8085282" y="5216921"/>
            <a:ext cx="291306" cy="29130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3E905C98-E081-4991-BA9B-6B68B9488026}"/>
              </a:ext>
            </a:extLst>
          </p:cNvPr>
          <p:cNvCxnSpPr>
            <a:cxnSpLocks/>
          </p:cNvCxnSpPr>
          <p:nvPr/>
        </p:nvCxnSpPr>
        <p:spPr>
          <a:xfrm>
            <a:off x="4217194" y="3781425"/>
            <a:ext cx="44529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30921D8-A702-44A2-80B1-61F14A54B518}"/>
              </a:ext>
            </a:extLst>
          </p:cNvPr>
          <p:cNvCxnSpPr>
            <a:cxnSpLocks/>
          </p:cNvCxnSpPr>
          <p:nvPr/>
        </p:nvCxnSpPr>
        <p:spPr>
          <a:xfrm>
            <a:off x="4217194" y="2200275"/>
            <a:ext cx="44529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D8BBC24-4A52-46E7-9A85-E9C48709FF93}"/>
              </a:ext>
            </a:extLst>
          </p:cNvPr>
          <p:cNvCxnSpPr>
            <a:cxnSpLocks/>
          </p:cNvCxnSpPr>
          <p:nvPr/>
        </p:nvCxnSpPr>
        <p:spPr>
          <a:xfrm>
            <a:off x="4217194" y="5362574"/>
            <a:ext cx="44529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252FE01-DCEC-4894-9D1A-220109B7077F}"/>
              </a:ext>
            </a:extLst>
          </p:cNvPr>
          <p:cNvCxnSpPr>
            <a:cxnSpLocks/>
          </p:cNvCxnSpPr>
          <p:nvPr/>
        </p:nvCxnSpPr>
        <p:spPr>
          <a:xfrm>
            <a:off x="7525226" y="3781425"/>
            <a:ext cx="44529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EF664F9-5CBA-4DEB-BD97-D312F0628C9B}"/>
              </a:ext>
            </a:extLst>
          </p:cNvPr>
          <p:cNvCxnSpPr>
            <a:cxnSpLocks/>
          </p:cNvCxnSpPr>
          <p:nvPr/>
        </p:nvCxnSpPr>
        <p:spPr>
          <a:xfrm>
            <a:off x="7525226" y="2200275"/>
            <a:ext cx="44529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A21CBF9-6A8B-4140-B011-FDDBDB980B4D}"/>
              </a:ext>
            </a:extLst>
          </p:cNvPr>
          <p:cNvCxnSpPr>
            <a:cxnSpLocks/>
          </p:cNvCxnSpPr>
          <p:nvPr/>
        </p:nvCxnSpPr>
        <p:spPr>
          <a:xfrm>
            <a:off x="7525226" y="5362574"/>
            <a:ext cx="44529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5170B45-AB87-4464-986C-7E76BEC301F3}"/>
              </a:ext>
            </a:extLst>
          </p:cNvPr>
          <p:cNvCxnSpPr>
            <a:cxnSpLocks/>
            <a:endCxn id="11" idx="1"/>
          </p:cNvCxnSpPr>
          <p:nvPr/>
        </p:nvCxnSpPr>
        <p:spPr>
          <a:xfrm>
            <a:off x="4662488" y="2198543"/>
            <a:ext cx="457930" cy="60729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1421E63-C11F-4F48-9E86-D61EB92025DC}"/>
              </a:ext>
            </a:extLst>
          </p:cNvPr>
          <p:cNvCxnSpPr>
            <a:cxnSpLocks/>
          </p:cNvCxnSpPr>
          <p:nvPr/>
        </p:nvCxnSpPr>
        <p:spPr>
          <a:xfrm flipV="1">
            <a:off x="7072899" y="2198543"/>
            <a:ext cx="457930" cy="60729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CD40FB1-B107-4E24-8102-7D4332073E9B}"/>
              </a:ext>
            </a:extLst>
          </p:cNvPr>
          <p:cNvCxnSpPr>
            <a:cxnSpLocks/>
          </p:cNvCxnSpPr>
          <p:nvPr/>
        </p:nvCxnSpPr>
        <p:spPr>
          <a:xfrm flipV="1">
            <a:off x="4662488" y="4763943"/>
            <a:ext cx="457930" cy="60729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597E552-00C3-41DA-97E5-44BFABB5426C}"/>
              </a:ext>
            </a:extLst>
          </p:cNvPr>
          <p:cNvCxnSpPr>
            <a:cxnSpLocks/>
          </p:cNvCxnSpPr>
          <p:nvPr/>
        </p:nvCxnSpPr>
        <p:spPr>
          <a:xfrm>
            <a:off x="7072899" y="4763943"/>
            <a:ext cx="457930" cy="60729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95F242BE-E713-469C-983D-48C04805810B}"/>
              </a:ext>
            </a:extLst>
          </p:cNvPr>
          <p:cNvSpPr/>
          <p:nvPr/>
        </p:nvSpPr>
        <p:spPr>
          <a:xfrm>
            <a:off x="387351" y="1738640"/>
            <a:ext cx="1664810" cy="93871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indent="-180000" algn="r" rt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Lorem </a:t>
            </a:r>
            <a:r>
              <a:rPr lang="en-US" sz="1400" dirty="0" err="1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ipsu</a:t>
            </a: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 dolor sit </a:t>
            </a:r>
            <a:r>
              <a:rPr lang="en-US" sz="1400" dirty="0" err="1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, </a:t>
            </a:r>
          </a:p>
          <a:p>
            <a:pPr marL="144000" indent="-180000" algn="r" rt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Lorem </a:t>
            </a:r>
            <a:r>
              <a:rPr lang="en-US" sz="1400" dirty="0" err="1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ipsu</a:t>
            </a: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 dolor sit </a:t>
            </a:r>
            <a:r>
              <a:rPr lang="en-US" sz="1400" dirty="0" err="1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, </a:t>
            </a:r>
            <a:endParaRPr lang="en-US" sz="1400" dirty="0">
              <a:solidFill>
                <a:schemeClr val="bg1"/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97095B6-D93B-4A15-96D8-EC4048E8C766}"/>
              </a:ext>
            </a:extLst>
          </p:cNvPr>
          <p:cNvSpPr/>
          <p:nvPr/>
        </p:nvSpPr>
        <p:spPr>
          <a:xfrm>
            <a:off x="387351" y="3308360"/>
            <a:ext cx="1664810" cy="93871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indent="-180000" algn="r" rt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Lorem </a:t>
            </a:r>
            <a:r>
              <a:rPr lang="en-US" sz="1400" dirty="0" err="1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ipsu</a:t>
            </a: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 dolor sit </a:t>
            </a:r>
            <a:r>
              <a:rPr lang="en-US" sz="1400" dirty="0" err="1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, </a:t>
            </a:r>
          </a:p>
          <a:p>
            <a:pPr marL="144000" indent="-180000" algn="r" rt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Lorem </a:t>
            </a:r>
            <a:r>
              <a:rPr lang="en-US" sz="1400" dirty="0" err="1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ipsu</a:t>
            </a: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 dolor sit </a:t>
            </a:r>
            <a:r>
              <a:rPr lang="en-US" sz="1400" dirty="0" err="1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, </a:t>
            </a:r>
            <a:endParaRPr lang="en-US" sz="1400" dirty="0">
              <a:solidFill>
                <a:schemeClr val="bg1"/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06E35FA7-CB13-45C0-BAD4-C9A3ACAFFD61}"/>
              </a:ext>
            </a:extLst>
          </p:cNvPr>
          <p:cNvSpPr/>
          <p:nvPr/>
        </p:nvSpPr>
        <p:spPr>
          <a:xfrm>
            <a:off x="387351" y="4857730"/>
            <a:ext cx="1664810" cy="93871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indent="-180000" algn="r" rt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Lorem </a:t>
            </a:r>
            <a:r>
              <a:rPr lang="en-US" sz="1400" dirty="0" err="1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ipsu</a:t>
            </a: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 dolor sit </a:t>
            </a:r>
            <a:r>
              <a:rPr lang="en-US" sz="1400" dirty="0" err="1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, </a:t>
            </a:r>
          </a:p>
          <a:p>
            <a:pPr marL="144000" indent="-180000" algn="r" rt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Lorem </a:t>
            </a:r>
            <a:r>
              <a:rPr lang="en-US" sz="1400" dirty="0" err="1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ipsu</a:t>
            </a: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 dolor sit </a:t>
            </a:r>
            <a:r>
              <a:rPr lang="en-US" sz="1400" dirty="0" err="1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, </a:t>
            </a:r>
            <a:endParaRPr lang="en-US" sz="1400" dirty="0">
              <a:solidFill>
                <a:schemeClr val="bg1"/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7001A87-5D79-414A-B808-178DCAF792AF}"/>
              </a:ext>
            </a:extLst>
          </p:cNvPr>
          <p:cNvSpPr/>
          <p:nvPr/>
        </p:nvSpPr>
        <p:spPr>
          <a:xfrm>
            <a:off x="10106770" y="1738640"/>
            <a:ext cx="1664810" cy="93871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indent="-18000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Lorem </a:t>
            </a:r>
            <a:r>
              <a:rPr lang="en-US" sz="1400" dirty="0" err="1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ipsu</a:t>
            </a: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 dolor sit </a:t>
            </a:r>
            <a:r>
              <a:rPr lang="en-US" sz="1400" dirty="0" err="1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, </a:t>
            </a:r>
          </a:p>
          <a:p>
            <a:pPr marL="144000" indent="-18000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Lorem </a:t>
            </a:r>
            <a:r>
              <a:rPr lang="en-US" sz="1400" dirty="0" err="1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ipsu</a:t>
            </a: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 dolor sit </a:t>
            </a:r>
            <a:r>
              <a:rPr lang="en-US" sz="1400" dirty="0" err="1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, </a:t>
            </a:r>
            <a:endParaRPr lang="en-US" sz="1400" dirty="0">
              <a:solidFill>
                <a:schemeClr val="bg1"/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602C612-CB30-4F20-8EFC-46381AF57ACF}"/>
              </a:ext>
            </a:extLst>
          </p:cNvPr>
          <p:cNvSpPr/>
          <p:nvPr/>
        </p:nvSpPr>
        <p:spPr>
          <a:xfrm>
            <a:off x="10106770" y="3308360"/>
            <a:ext cx="1664810" cy="93871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indent="-18000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Lorem </a:t>
            </a:r>
            <a:r>
              <a:rPr lang="en-US" sz="1400" dirty="0" err="1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ipsu</a:t>
            </a: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 dolor sit </a:t>
            </a:r>
            <a:r>
              <a:rPr lang="en-US" sz="1400" dirty="0" err="1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, </a:t>
            </a:r>
          </a:p>
          <a:p>
            <a:pPr marL="144000" indent="-18000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Lorem </a:t>
            </a:r>
            <a:r>
              <a:rPr lang="en-US" sz="1400" dirty="0" err="1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ipsu</a:t>
            </a: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 dolor sit </a:t>
            </a:r>
            <a:r>
              <a:rPr lang="en-US" sz="1400" dirty="0" err="1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, </a:t>
            </a:r>
            <a:endParaRPr lang="en-US" sz="1400" dirty="0">
              <a:solidFill>
                <a:schemeClr val="bg1"/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EA12291-1142-48DE-A95B-DF5029896A86}"/>
              </a:ext>
            </a:extLst>
          </p:cNvPr>
          <p:cNvSpPr/>
          <p:nvPr/>
        </p:nvSpPr>
        <p:spPr>
          <a:xfrm>
            <a:off x="10106770" y="4857730"/>
            <a:ext cx="1664810" cy="93871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indent="-18000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Lorem </a:t>
            </a:r>
            <a:r>
              <a:rPr lang="en-US" sz="1400" dirty="0" err="1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ipsu</a:t>
            </a: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 dolor sit </a:t>
            </a:r>
            <a:r>
              <a:rPr lang="en-US" sz="1400" dirty="0" err="1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, </a:t>
            </a:r>
          </a:p>
          <a:p>
            <a:pPr marL="144000" indent="-18000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Lorem </a:t>
            </a:r>
            <a:r>
              <a:rPr lang="en-US" sz="1400" dirty="0" err="1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ipsu</a:t>
            </a: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 dolor sit </a:t>
            </a:r>
            <a:r>
              <a:rPr lang="en-US" sz="1400" dirty="0" err="1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effectLst/>
                <a:latin typeface="Georgia" panose="02040502050405020303" pitchFamily="18" charset="0"/>
                <a:cs typeface="Segoe UI Light" panose="020B0502040204020203" pitchFamily="34" charset="0"/>
              </a:rPr>
              <a:t>, </a:t>
            </a:r>
            <a:endParaRPr lang="en-US" sz="1400" dirty="0">
              <a:solidFill>
                <a:schemeClr val="bg1"/>
              </a:solidFill>
              <a:latin typeface="Georgia" panose="02040502050405020303" pitchFamily="18" charset="0"/>
              <a:cs typeface="Segoe UI Light" panose="020B0502040204020203" pitchFamily="34" charset="0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2D1F0BCC-AAA8-464F-A124-AD284B8C1A99}"/>
              </a:ext>
            </a:extLst>
          </p:cNvPr>
          <p:cNvGrpSpPr/>
          <p:nvPr/>
        </p:nvGrpSpPr>
        <p:grpSpPr>
          <a:xfrm>
            <a:off x="7974807" y="2990850"/>
            <a:ext cx="3796773" cy="1581150"/>
            <a:chOff x="-609600" y="2990850"/>
            <a:chExt cx="13792200" cy="1581150"/>
          </a:xfrm>
        </p:grpSpPr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BC0CD70F-A8C9-482E-B8D4-3AC1ECD11AB2}"/>
                </a:ext>
              </a:extLst>
            </p:cNvPr>
            <p:cNvCxnSpPr/>
            <p:nvPr/>
          </p:nvCxnSpPr>
          <p:spPr>
            <a:xfrm>
              <a:off x="-609600" y="2990850"/>
              <a:ext cx="13792200" cy="0"/>
            </a:xfrm>
            <a:prstGeom prst="line">
              <a:avLst/>
            </a:prstGeom>
            <a:ln>
              <a:solidFill>
                <a:schemeClr val="bg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4B06178E-BA4A-48DE-B469-CA4728D2A512}"/>
                </a:ext>
              </a:extLst>
            </p:cNvPr>
            <p:cNvCxnSpPr/>
            <p:nvPr/>
          </p:nvCxnSpPr>
          <p:spPr>
            <a:xfrm>
              <a:off x="-609600" y="4572000"/>
              <a:ext cx="13792200" cy="0"/>
            </a:xfrm>
            <a:prstGeom prst="line">
              <a:avLst/>
            </a:prstGeom>
            <a:ln>
              <a:solidFill>
                <a:schemeClr val="bg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61E0B90D-9565-483F-B472-B20D3C22DF46}"/>
              </a:ext>
            </a:extLst>
          </p:cNvPr>
          <p:cNvGrpSpPr/>
          <p:nvPr/>
        </p:nvGrpSpPr>
        <p:grpSpPr>
          <a:xfrm>
            <a:off x="8146642" y="2116003"/>
            <a:ext cx="168521" cy="168521"/>
            <a:chOff x="5562600" y="3979863"/>
            <a:chExt cx="346076" cy="346075"/>
          </a:xfrm>
        </p:grpSpPr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74920192-9663-49B6-BB06-49B8EC8CAF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37213" y="4160838"/>
              <a:ext cx="90488" cy="90488"/>
            </a:xfrm>
            <a:prstGeom prst="ellipse">
              <a:avLst/>
            </a:prstGeom>
            <a:noFill/>
            <a:ln w="6350" cap="flat">
              <a:solidFill>
                <a:srgbClr val="41ECF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BD76D75A-CCA9-47B9-B440-1F3E5D77C8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8188" y="4024313"/>
              <a:ext cx="44450" cy="46038"/>
            </a:xfrm>
            <a:prstGeom prst="ellipse">
              <a:avLst/>
            </a:prstGeom>
            <a:noFill/>
            <a:ln w="6350" cap="flat">
              <a:solidFill>
                <a:srgbClr val="41ECF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69" name="Freeform 66">
              <a:extLst>
                <a:ext uri="{FF2B5EF4-FFF2-40B4-BE49-F238E27FC236}">
                  <a16:creationId xmlns:a16="http://schemas.microsoft.com/office/drawing/2014/main" id="{F3484882-8F01-4084-910C-365A784FD1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600" y="4084638"/>
              <a:ext cx="241300" cy="241300"/>
            </a:xfrm>
            <a:custGeom>
              <a:avLst/>
              <a:gdLst>
                <a:gd name="T0" fmla="*/ 58 w 64"/>
                <a:gd name="T1" fmla="*/ 32 h 64"/>
                <a:gd name="T2" fmla="*/ 57 w 64"/>
                <a:gd name="T3" fmla="*/ 27 h 64"/>
                <a:gd name="T4" fmla="*/ 64 w 64"/>
                <a:gd name="T5" fmla="*/ 23 h 64"/>
                <a:gd name="T6" fmla="*/ 56 w 64"/>
                <a:gd name="T7" fmla="*/ 9 h 64"/>
                <a:gd name="T8" fmla="*/ 50 w 64"/>
                <a:gd name="T9" fmla="*/ 13 h 64"/>
                <a:gd name="T10" fmla="*/ 40 w 64"/>
                <a:gd name="T11" fmla="*/ 7 h 64"/>
                <a:gd name="T12" fmla="*/ 40 w 64"/>
                <a:gd name="T13" fmla="*/ 0 h 64"/>
                <a:gd name="T14" fmla="*/ 24 w 64"/>
                <a:gd name="T15" fmla="*/ 0 h 64"/>
                <a:gd name="T16" fmla="*/ 24 w 64"/>
                <a:gd name="T17" fmla="*/ 7 h 64"/>
                <a:gd name="T18" fmla="*/ 15 w 64"/>
                <a:gd name="T19" fmla="*/ 13 h 64"/>
                <a:gd name="T20" fmla="*/ 8 w 64"/>
                <a:gd name="T21" fmla="*/ 9 h 64"/>
                <a:gd name="T22" fmla="*/ 0 w 64"/>
                <a:gd name="T23" fmla="*/ 23 h 64"/>
                <a:gd name="T24" fmla="*/ 7 w 64"/>
                <a:gd name="T25" fmla="*/ 27 h 64"/>
                <a:gd name="T26" fmla="*/ 6 w 64"/>
                <a:gd name="T27" fmla="*/ 32 h 64"/>
                <a:gd name="T28" fmla="*/ 7 w 64"/>
                <a:gd name="T29" fmla="*/ 37 h 64"/>
                <a:gd name="T30" fmla="*/ 0 w 64"/>
                <a:gd name="T31" fmla="*/ 41 h 64"/>
                <a:gd name="T32" fmla="*/ 8 w 64"/>
                <a:gd name="T33" fmla="*/ 55 h 64"/>
                <a:gd name="T34" fmla="*/ 15 w 64"/>
                <a:gd name="T35" fmla="*/ 51 h 64"/>
                <a:gd name="T36" fmla="*/ 24 w 64"/>
                <a:gd name="T37" fmla="*/ 57 h 64"/>
                <a:gd name="T38" fmla="*/ 24 w 64"/>
                <a:gd name="T39" fmla="*/ 64 h 64"/>
                <a:gd name="T40" fmla="*/ 40 w 64"/>
                <a:gd name="T41" fmla="*/ 64 h 64"/>
                <a:gd name="T42" fmla="*/ 40 w 64"/>
                <a:gd name="T43" fmla="*/ 57 h 64"/>
                <a:gd name="T44" fmla="*/ 50 w 64"/>
                <a:gd name="T45" fmla="*/ 51 h 64"/>
                <a:gd name="T46" fmla="*/ 56 w 64"/>
                <a:gd name="T47" fmla="*/ 55 h 64"/>
                <a:gd name="T48" fmla="*/ 64 w 64"/>
                <a:gd name="T49" fmla="*/ 41 h 64"/>
                <a:gd name="T50" fmla="*/ 57 w 64"/>
                <a:gd name="T51" fmla="*/ 37 h 64"/>
                <a:gd name="T52" fmla="*/ 58 w 64"/>
                <a:gd name="T53" fmla="*/ 3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4" h="64">
                  <a:moveTo>
                    <a:pt x="58" y="32"/>
                  </a:moveTo>
                  <a:cubicBezTo>
                    <a:pt x="58" y="30"/>
                    <a:pt x="58" y="28"/>
                    <a:pt x="57" y="27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47" y="10"/>
                    <a:pt x="44" y="8"/>
                    <a:pt x="40" y="7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0" y="8"/>
                    <a:pt x="17" y="10"/>
                    <a:pt x="15" y="13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6" y="28"/>
                    <a:pt x="6" y="30"/>
                    <a:pt x="6" y="32"/>
                  </a:cubicBezTo>
                  <a:cubicBezTo>
                    <a:pt x="6" y="34"/>
                    <a:pt x="6" y="36"/>
                    <a:pt x="7" y="37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8" y="55"/>
                    <a:pt x="8" y="55"/>
                    <a:pt x="8" y="55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7" y="54"/>
                    <a:pt x="20" y="56"/>
                    <a:pt x="24" y="57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40" y="64"/>
                    <a:pt x="40" y="64"/>
                    <a:pt x="40" y="64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4" y="56"/>
                    <a:pt x="47" y="54"/>
                    <a:pt x="50" y="51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64" y="41"/>
                    <a:pt x="64" y="41"/>
                    <a:pt x="64" y="41"/>
                  </a:cubicBezTo>
                  <a:cubicBezTo>
                    <a:pt x="57" y="37"/>
                    <a:pt x="57" y="37"/>
                    <a:pt x="57" y="37"/>
                  </a:cubicBezTo>
                  <a:cubicBezTo>
                    <a:pt x="58" y="36"/>
                    <a:pt x="58" y="34"/>
                    <a:pt x="58" y="32"/>
                  </a:cubicBezTo>
                  <a:close/>
                </a:path>
              </a:pathLst>
            </a:custGeom>
            <a:noFill/>
            <a:ln w="6350" cap="flat">
              <a:solidFill>
                <a:srgbClr val="41ECF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70" name="Freeform 67">
              <a:extLst>
                <a:ext uri="{FF2B5EF4-FFF2-40B4-BE49-F238E27FC236}">
                  <a16:creationId xmlns:a16="http://schemas.microsoft.com/office/drawing/2014/main" id="{001EE939-C630-412F-887D-A812F2D9B5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3738" y="3979863"/>
              <a:ext cx="134938" cy="134938"/>
            </a:xfrm>
            <a:custGeom>
              <a:avLst/>
              <a:gdLst>
                <a:gd name="T0" fmla="*/ 32 w 36"/>
                <a:gd name="T1" fmla="*/ 18 h 36"/>
                <a:gd name="T2" fmla="*/ 32 w 36"/>
                <a:gd name="T3" fmla="*/ 15 h 36"/>
                <a:gd name="T4" fmla="*/ 36 w 36"/>
                <a:gd name="T5" fmla="*/ 12 h 36"/>
                <a:gd name="T6" fmla="*/ 32 w 36"/>
                <a:gd name="T7" fmla="*/ 6 h 36"/>
                <a:gd name="T8" fmla="*/ 28 w 36"/>
                <a:gd name="T9" fmla="*/ 8 h 36"/>
                <a:gd name="T10" fmla="*/ 22 w 36"/>
                <a:gd name="T11" fmla="*/ 5 h 36"/>
                <a:gd name="T12" fmla="*/ 22 w 36"/>
                <a:gd name="T13" fmla="*/ 0 h 36"/>
                <a:gd name="T14" fmla="*/ 14 w 36"/>
                <a:gd name="T15" fmla="*/ 0 h 36"/>
                <a:gd name="T16" fmla="*/ 14 w 36"/>
                <a:gd name="T17" fmla="*/ 5 h 36"/>
                <a:gd name="T18" fmla="*/ 9 w 36"/>
                <a:gd name="T19" fmla="*/ 8 h 36"/>
                <a:gd name="T20" fmla="*/ 5 w 36"/>
                <a:gd name="T21" fmla="*/ 6 h 36"/>
                <a:gd name="T22" fmla="*/ 0 w 36"/>
                <a:gd name="T23" fmla="*/ 12 h 36"/>
                <a:gd name="T24" fmla="*/ 4 w 36"/>
                <a:gd name="T25" fmla="*/ 15 h 36"/>
                <a:gd name="T26" fmla="*/ 4 w 36"/>
                <a:gd name="T27" fmla="*/ 18 h 36"/>
                <a:gd name="T28" fmla="*/ 4 w 36"/>
                <a:gd name="T29" fmla="*/ 21 h 36"/>
                <a:gd name="T30" fmla="*/ 0 w 36"/>
                <a:gd name="T31" fmla="*/ 24 h 36"/>
                <a:gd name="T32" fmla="*/ 4 w 36"/>
                <a:gd name="T33" fmla="*/ 30 h 36"/>
                <a:gd name="T34" fmla="*/ 9 w 36"/>
                <a:gd name="T35" fmla="*/ 28 h 36"/>
                <a:gd name="T36" fmla="*/ 14 w 36"/>
                <a:gd name="T37" fmla="*/ 31 h 36"/>
                <a:gd name="T38" fmla="*/ 14 w 36"/>
                <a:gd name="T39" fmla="*/ 36 h 36"/>
                <a:gd name="T40" fmla="*/ 22 w 36"/>
                <a:gd name="T41" fmla="*/ 36 h 36"/>
                <a:gd name="T42" fmla="*/ 22 w 36"/>
                <a:gd name="T43" fmla="*/ 31 h 36"/>
                <a:gd name="T44" fmla="*/ 28 w 36"/>
                <a:gd name="T45" fmla="*/ 28 h 36"/>
                <a:gd name="T46" fmla="*/ 32 w 36"/>
                <a:gd name="T47" fmla="*/ 30 h 36"/>
                <a:gd name="T48" fmla="*/ 36 w 36"/>
                <a:gd name="T49" fmla="*/ 24 h 36"/>
                <a:gd name="T50" fmla="*/ 32 w 36"/>
                <a:gd name="T51" fmla="*/ 21 h 36"/>
                <a:gd name="T52" fmla="*/ 32 w 36"/>
                <a:gd name="T53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6" h="36">
                  <a:moveTo>
                    <a:pt x="32" y="18"/>
                  </a:moveTo>
                  <a:cubicBezTo>
                    <a:pt x="32" y="17"/>
                    <a:pt x="32" y="16"/>
                    <a:pt x="32" y="15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6" y="6"/>
                    <a:pt x="24" y="5"/>
                    <a:pt x="22" y="5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2" y="5"/>
                    <a:pt x="10" y="6"/>
                    <a:pt x="9" y="8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6"/>
                    <a:pt x="4" y="17"/>
                    <a:pt x="4" y="18"/>
                  </a:cubicBezTo>
                  <a:cubicBezTo>
                    <a:pt x="4" y="19"/>
                    <a:pt x="4" y="20"/>
                    <a:pt x="4" y="21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0" y="30"/>
                    <a:pt x="12" y="31"/>
                    <a:pt x="14" y="31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4" y="31"/>
                    <a:pt x="26" y="30"/>
                    <a:pt x="28" y="28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0"/>
                    <a:pt x="32" y="19"/>
                    <a:pt x="32" y="18"/>
                  </a:cubicBezTo>
                  <a:close/>
                </a:path>
              </a:pathLst>
            </a:custGeom>
            <a:noFill/>
            <a:ln w="6350" cap="flat">
              <a:solidFill>
                <a:srgbClr val="41ECF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5A847027-EEC8-429A-B321-A5164E8E0666}"/>
              </a:ext>
            </a:extLst>
          </p:cNvPr>
          <p:cNvGrpSpPr/>
          <p:nvPr/>
        </p:nvGrpSpPr>
        <p:grpSpPr>
          <a:xfrm>
            <a:off x="3877138" y="3728168"/>
            <a:ext cx="188781" cy="106515"/>
            <a:chOff x="4119563" y="4054475"/>
            <a:chExt cx="346075" cy="195263"/>
          </a:xfrm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F4F6D5D5-D60A-44DD-BC7A-3776578F9B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9563" y="4054475"/>
              <a:ext cx="346075" cy="195263"/>
            </a:xfrm>
            <a:prstGeom prst="ellipse">
              <a:avLst/>
            </a:prstGeom>
            <a:noFill/>
            <a:ln w="6350" cap="rnd">
              <a:solidFill>
                <a:srgbClr val="CEDC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CF77BEF9-2E65-4D1F-A9FC-12629857A4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2276" y="4090988"/>
              <a:ext cx="120650" cy="120650"/>
            </a:xfrm>
            <a:prstGeom prst="ellipse">
              <a:avLst/>
            </a:prstGeom>
            <a:noFill/>
            <a:ln w="6350" cap="rnd">
              <a:solidFill>
                <a:srgbClr val="CEDC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66" name="Freeform 148">
              <a:extLst>
                <a:ext uri="{FF2B5EF4-FFF2-40B4-BE49-F238E27FC236}">
                  <a16:creationId xmlns:a16="http://schemas.microsoft.com/office/drawing/2014/main" id="{F078344C-0D5F-4880-AD06-596F5D18F9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2438" y="4121150"/>
              <a:ext cx="60325" cy="60325"/>
            </a:xfrm>
            <a:custGeom>
              <a:avLst/>
              <a:gdLst>
                <a:gd name="T0" fmla="*/ 8 w 16"/>
                <a:gd name="T1" fmla="*/ 0 h 16"/>
                <a:gd name="T2" fmla="*/ 16 w 16"/>
                <a:gd name="T3" fmla="*/ 8 h 16"/>
                <a:gd name="T4" fmla="*/ 8 w 16"/>
                <a:gd name="T5" fmla="*/ 16 h 16"/>
                <a:gd name="T6" fmla="*/ 0 w 16"/>
                <a:gd name="T7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6">
                  <a:moveTo>
                    <a:pt x="8" y="0"/>
                  </a:moveTo>
                  <a:cubicBezTo>
                    <a:pt x="12" y="0"/>
                    <a:pt x="16" y="4"/>
                    <a:pt x="16" y="8"/>
                  </a:cubicBezTo>
                  <a:cubicBezTo>
                    <a:pt x="16" y="12"/>
                    <a:pt x="12" y="16"/>
                    <a:pt x="8" y="16"/>
                  </a:cubicBezTo>
                  <a:cubicBezTo>
                    <a:pt x="4" y="16"/>
                    <a:pt x="0" y="12"/>
                    <a:pt x="0" y="8"/>
                  </a:cubicBezTo>
                </a:path>
              </a:pathLst>
            </a:custGeom>
            <a:noFill/>
            <a:ln w="6350" cap="rnd">
              <a:solidFill>
                <a:srgbClr val="CEDC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B80DC25-AC95-4403-9319-B4F7C6A13246}"/>
              </a:ext>
            </a:extLst>
          </p:cNvPr>
          <p:cNvGrpSpPr/>
          <p:nvPr/>
        </p:nvGrpSpPr>
        <p:grpSpPr>
          <a:xfrm>
            <a:off x="3898143" y="2126890"/>
            <a:ext cx="146770" cy="146770"/>
            <a:chOff x="2678113" y="4700588"/>
            <a:chExt cx="346075" cy="346075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A3E27C10-953F-4FED-8EBF-4CFABF6272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4700588"/>
              <a:ext cx="239713" cy="241300"/>
            </a:xfrm>
            <a:prstGeom prst="ellipse">
              <a:avLst/>
            </a:prstGeom>
            <a:noFill/>
            <a:ln w="6350" cap="flat">
              <a:solidFill>
                <a:srgbClr val="CEDC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63" name="Line 184">
              <a:extLst>
                <a:ext uri="{FF2B5EF4-FFF2-40B4-BE49-F238E27FC236}">
                  <a16:creationId xmlns:a16="http://schemas.microsoft.com/office/drawing/2014/main" id="{BF93CCEE-87F2-4790-958A-F84887E1530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4488" y="4908550"/>
              <a:ext cx="139700" cy="138113"/>
            </a:xfrm>
            <a:prstGeom prst="line">
              <a:avLst/>
            </a:prstGeom>
            <a:noFill/>
            <a:ln w="6350" cap="rnd">
              <a:solidFill>
                <a:srgbClr val="CEDC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40DFFD70-59C7-4646-A14B-F6051676BD0B}"/>
              </a:ext>
            </a:extLst>
          </p:cNvPr>
          <p:cNvGrpSpPr/>
          <p:nvPr/>
        </p:nvGrpSpPr>
        <p:grpSpPr>
          <a:xfrm>
            <a:off x="3917331" y="5289189"/>
            <a:ext cx="108395" cy="146770"/>
            <a:chOff x="7770813" y="2532063"/>
            <a:chExt cx="255588" cy="346075"/>
          </a:xfrm>
        </p:grpSpPr>
        <p:sp>
          <p:nvSpPr>
            <p:cNvPr id="56" name="Freeform 52">
              <a:extLst>
                <a:ext uri="{FF2B5EF4-FFF2-40B4-BE49-F238E27FC236}">
                  <a16:creationId xmlns:a16="http://schemas.microsoft.com/office/drawing/2014/main" id="{087DCC9D-54D2-4474-8E09-293A83F91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0975" y="2532063"/>
              <a:ext cx="195263" cy="173038"/>
            </a:xfrm>
            <a:custGeom>
              <a:avLst/>
              <a:gdLst>
                <a:gd name="T0" fmla="*/ 52 w 52"/>
                <a:gd name="T1" fmla="*/ 20 h 46"/>
                <a:gd name="T2" fmla="*/ 26 w 52"/>
                <a:gd name="T3" fmla="*/ 46 h 46"/>
                <a:gd name="T4" fmla="*/ 0 w 52"/>
                <a:gd name="T5" fmla="*/ 20 h 46"/>
                <a:gd name="T6" fmla="*/ 0 w 52"/>
                <a:gd name="T7" fmla="*/ 0 h 46"/>
                <a:gd name="T8" fmla="*/ 52 w 52"/>
                <a:gd name="T9" fmla="*/ 0 h 46"/>
                <a:gd name="T10" fmla="*/ 52 w 52"/>
                <a:gd name="T11" fmla="*/ 2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46">
                  <a:moveTo>
                    <a:pt x="52" y="20"/>
                  </a:moveTo>
                  <a:cubicBezTo>
                    <a:pt x="52" y="34"/>
                    <a:pt x="40" y="46"/>
                    <a:pt x="26" y="46"/>
                  </a:cubicBezTo>
                  <a:cubicBezTo>
                    <a:pt x="12" y="46"/>
                    <a:pt x="0" y="34"/>
                    <a:pt x="0" y="2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2" y="0"/>
                    <a:pt x="52" y="0"/>
                    <a:pt x="52" y="0"/>
                  </a:cubicBezTo>
                  <a:lnTo>
                    <a:pt x="52" y="20"/>
                  </a:lnTo>
                  <a:close/>
                </a:path>
              </a:pathLst>
            </a:custGeom>
            <a:noFill/>
            <a:ln w="6350" cap="rnd">
              <a:solidFill>
                <a:srgbClr val="CEDC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57" name="Freeform 53">
              <a:extLst>
                <a:ext uri="{FF2B5EF4-FFF2-40B4-BE49-F238E27FC236}">
                  <a16:creationId xmlns:a16="http://schemas.microsoft.com/office/drawing/2014/main" id="{C90A0C69-8126-460D-86F9-A0FC673D3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0975" y="2705100"/>
              <a:ext cx="195263" cy="173038"/>
            </a:xfrm>
            <a:custGeom>
              <a:avLst/>
              <a:gdLst>
                <a:gd name="T0" fmla="*/ 52 w 52"/>
                <a:gd name="T1" fmla="*/ 26 h 46"/>
                <a:gd name="T2" fmla="*/ 26 w 52"/>
                <a:gd name="T3" fmla="*/ 0 h 46"/>
                <a:gd name="T4" fmla="*/ 0 w 52"/>
                <a:gd name="T5" fmla="*/ 26 h 46"/>
                <a:gd name="T6" fmla="*/ 0 w 52"/>
                <a:gd name="T7" fmla="*/ 46 h 46"/>
                <a:gd name="T8" fmla="*/ 52 w 52"/>
                <a:gd name="T9" fmla="*/ 46 h 46"/>
                <a:gd name="T10" fmla="*/ 52 w 52"/>
                <a:gd name="T11" fmla="*/ 2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46">
                  <a:moveTo>
                    <a:pt x="52" y="26"/>
                  </a:moveTo>
                  <a:cubicBezTo>
                    <a:pt x="52" y="12"/>
                    <a:pt x="40" y="0"/>
                    <a:pt x="26" y="0"/>
                  </a:cubicBezTo>
                  <a:cubicBezTo>
                    <a:pt x="12" y="0"/>
                    <a:pt x="0" y="12"/>
                    <a:pt x="0" y="2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52" y="46"/>
                    <a:pt x="52" y="46"/>
                    <a:pt x="52" y="46"/>
                  </a:cubicBezTo>
                  <a:lnTo>
                    <a:pt x="52" y="26"/>
                  </a:lnTo>
                  <a:close/>
                </a:path>
              </a:pathLst>
            </a:custGeom>
            <a:noFill/>
            <a:ln w="6350" cap="rnd">
              <a:solidFill>
                <a:srgbClr val="CEDC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58" name="Line 54">
              <a:extLst>
                <a:ext uri="{FF2B5EF4-FFF2-40B4-BE49-F238E27FC236}">
                  <a16:creationId xmlns:a16="http://schemas.microsoft.com/office/drawing/2014/main" id="{5CE4F5D3-8B3D-4B9D-9162-F333D968D8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70813" y="2532063"/>
              <a:ext cx="255588" cy="0"/>
            </a:xfrm>
            <a:prstGeom prst="line">
              <a:avLst/>
            </a:prstGeom>
            <a:noFill/>
            <a:ln w="6350" cap="rnd">
              <a:solidFill>
                <a:srgbClr val="CEDC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59" name="Line 55">
              <a:extLst>
                <a:ext uri="{FF2B5EF4-FFF2-40B4-BE49-F238E27FC236}">
                  <a16:creationId xmlns:a16="http://schemas.microsoft.com/office/drawing/2014/main" id="{615A2778-C7E0-4FD9-B14C-4C74A6E113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70813" y="2878138"/>
              <a:ext cx="255588" cy="0"/>
            </a:xfrm>
            <a:prstGeom prst="line">
              <a:avLst/>
            </a:prstGeom>
            <a:noFill/>
            <a:ln w="6350" cap="rnd">
              <a:solidFill>
                <a:srgbClr val="CEDC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60" name="Freeform 56">
              <a:extLst>
                <a:ext uri="{FF2B5EF4-FFF2-40B4-BE49-F238E27FC236}">
                  <a16:creationId xmlns:a16="http://schemas.microsoft.com/office/drawing/2014/main" id="{9AAE7FD8-59A7-405B-B0ED-8555895F0D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0975" y="2773363"/>
              <a:ext cx="195263" cy="44450"/>
            </a:xfrm>
            <a:custGeom>
              <a:avLst/>
              <a:gdLst>
                <a:gd name="T0" fmla="*/ 0 w 123"/>
                <a:gd name="T1" fmla="*/ 28 h 28"/>
                <a:gd name="T2" fmla="*/ 33 w 123"/>
                <a:gd name="T3" fmla="*/ 28 h 28"/>
                <a:gd name="T4" fmla="*/ 62 w 123"/>
                <a:gd name="T5" fmla="*/ 0 h 28"/>
                <a:gd name="T6" fmla="*/ 90 w 123"/>
                <a:gd name="T7" fmla="*/ 28 h 28"/>
                <a:gd name="T8" fmla="*/ 123 w 123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28">
                  <a:moveTo>
                    <a:pt x="0" y="28"/>
                  </a:moveTo>
                  <a:lnTo>
                    <a:pt x="33" y="28"/>
                  </a:lnTo>
                  <a:lnTo>
                    <a:pt x="62" y="0"/>
                  </a:lnTo>
                  <a:lnTo>
                    <a:pt x="90" y="28"/>
                  </a:lnTo>
                  <a:lnTo>
                    <a:pt x="123" y="28"/>
                  </a:lnTo>
                </a:path>
              </a:pathLst>
            </a:custGeom>
            <a:noFill/>
            <a:ln w="6350" cap="rnd">
              <a:solidFill>
                <a:srgbClr val="CEDC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61" name="Line 57">
              <a:extLst>
                <a:ext uri="{FF2B5EF4-FFF2-40B4-BE49-F238E27FC236}">
                  <a16:creationId xmlns:a16="http://schemas.microsoft.com/office/drawing/2014/main" id="{F8B87041-7E3C-4B77-B1AD-4B38EC1377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24788" y="2667000"/>
              <a:ext cx="149225" cy="0"/>
            </a:xfrm>
            <a:prstGeom prst="line">
              <a:avLst/>
            </a:prstGeom>
            <a:noFill/>
            <a:ln w="6350" cap="rnd">
              <a:solidFill>
                <a:srgbClr val="CEDC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B810668D-3DA0-4F44-AC28-A0FCAF38F849}"/>
              </a:ext>
            </a:extLst>
          </p:cNvPr>
          <p:cNvGrpSpPr/>
          <p:nvPr/>
        </p:nvGrpSpPr>
        <p:grpSpPr>
          <a:xfrm>
            <a:off x="8150212" y="5281842"/>
            <a:ext cx="161447" cy="161446"/>
            <a:chOff x="7726363" y="3255963"/>
            <a:chExt cx="346075" cy="346075"/>
          </a:xfrm>
        </p:grpSpPr>
        <p:sp>
          <p:nvSpPr>
            <p:cNvPr id="51" name="Freeform 120">
              <a:extLst>
                <a:ext uri="{FF2B5EF4-FFF2-40B4-BE49-F238E27FC236}">
                  <a16:creationId xmlns:a16="http://schemas.microsoft.com/office/drawing/2014/main" id="{087F2BC0-342A-4E8C-81B2-A6F8D9482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255963"/>
              <a:ext cx="346075" cy="315913"/>
            </a:xfrm>
            <a:custGeom>
              <a:avLst/>
              <a:gdLst>
                <a:gd name="T0" fmla="*/ 64 w 92"/>
                <a:gd name="T1" fmla="*/ 75 h 84"/>
                <a:gd name="T2" fmla="*/ 73 w 92"/>
                <a:gd name="T3" fmla="*/ 84 h 84"/>
                <a:gd name="T4" fmla="*/ 84 w 92"/>
                <a:gd name="T5" fmla="*/ 73 h 84"/>
                <a:gd name="T6" fmla="*/ 75 w 92"/>
                <a:gd name="T7" fmla="*/ 64 h 84"/>
                <a:gd name="T8" fmla="*/ 79 w 92"/>
                <a:gd name="T9" fmla="*/ 52 h 84"/>
                <a:gd name="T10" fmla="*/ 92 w 92"/>
                <a:gd name="T11" fmla="*/ 52 h 84"/>
                <a:gd name="T12" fmla="*/ 92 w 92"/>
                <a:gd name="T13" fmla="*/ 40 h 84"/>
                <a:gd name="T14" fmla="*/ 79 w 92"/>
                <a:gd name="T15" fmla="*/ 40 h 84"/>
                <a:gd name="T16" fmla="*/ 75 w 92"/>
                <a:gd name="T17" fmla="*/ 28 h 84"/>
                <a:gd name="T18" fmla="*/ 84 w 92"/>
                <a:gd name="T19" fmla="*/ 19 h 84"/>
                <a:gd name="T20" fmla="*/ 73 w 92"/>
                <a:gd name="T21" fmla="*/ 8 h 84"/>
                <a:gd name="T22" fmla="*/ 64 w 92"/>
                <a:gd name="T23" fmla="*/ 17 h 84"/>
                <a:gd name="T24" fmla="*/ 52 w 92"/>
                <a:gd name="T25" fmla="*/ 13 h 84"/>
                <a:gd name="T26" fmla="*/ 52 w 92"/>
                <a:gd name="T27" fmla="*/ 0 h 84"/>
                <a:gd name="T28" fmla="*/ 40 w 92"/>
                <a:gd name="T29" fmla="*/ 0 h 84"/>
                <a:gd name="T30" fmla="*/ 40 w 92"/>
                <a:gd name="T31" fmla="*/ 13 h 84"/>
                <a:gd name="T32" fmla="*/ 28 w 92"/>
                <a:gd name="T33" fmla="*/ 17 h 84"/>
                <a:gd name="T34" fmla="*/ 19 w 92"/>
                <a:gd name="T35" fmla="*/ 8 h 84"/>
                <a:gd name="T36" fmla="*/ 8 w 92"/>
                <a:gd name="T37" fmla="*/ 19 h 84"/>
                <a:gd name="T38" fmla="*/ 17 w 92"/>
                <a:gd name="T39" fmla="*/ 28 h 84"/>
                <a:gd name="T40" fmla="*/ 13 w 92"/>
                <a:gd name="T41" fmla="*/ 40 h 84"/>
                <a:gd name="T42" fmla="*/ 0 w 92"/>
                <a:gd name="T43" fmla="*/ 40 h 84"/>
                <a:gd name="T44" fmla="*/ 0 w 92"/>
                <a:gd name="T45" fmla="*/ 52 h 84"/>
                <a:gd name="T46" fmla="*/ 13 w 92"/>
                <a:gd name="T47" fmla="*/ 52 h 84"/>
                <a:gd name="T48" fmla="*/ 17 w 92"/>
                <a:gd name="T49" fmla="*/ 64 h 84"/>
                <a:gd name="T50" fmla="*/ 8 w 92"/>
                <a:gd name="T51" fmla="*/ 73 h 84"/>
                <a:gd name="T52" fmla="*/ 19 w 92"/>
                <a:gd name="T53" fmla="*/ 84 h 84"/>
                <a:gd name="T54" fmla="*/ 28 w 92"/>
                <a:gd name="T55" fmla="*/ 7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" h="84">
                  <a:moveTo>
                    <a:pt x="64" y="75"/>
                  </a:moveTo>
                  <a:cubicBezTo>
                    <a:pt x="73" y="84"/>
                    <a:pt x="73" y="84"/>
                    <a:pt x="73" y="84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7" y="61"/>
                    <a:pt x="78" y="55"/>
                    <a:pt x="79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0"/>
                    <a:pt x="92" y="40"/>
                    <a:pt x="92" y="40"/>
                  </a:cubicBezTo>
                  <a:cubicBezTo>
                    <a:pt x="79" y="40"/>
                    <a:pt x="79" y="40"/>
                    <a:pt x="79" y="40"/>
                  </a:cubicBezTo>
                  <a:cubicBezTo>
                    <a:pt x="78" y="37"/>
                    <a:pt x="77" y="31"/>
                    <a:pt x="75" y="28"/>
                  </a:cubicBezTo>
                  <a:cubicBezTo>
                    <a:pt x="84" y="19"/>
                    <a:pt x="84" y="19"/>
                    <a:pt x="84" y="19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61" y="15"/>
                    <a:pt x="55" y="14"/>
                    <a:pt x="52" y="13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7" y="14"/>
                    <a:pt x="31" y="15"/>
                    <a:pt x="28" y="1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5" y="31"/>
                    <a:pt x="14" y="37"/>
                    <a:pt x="13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14" y="55"/>
                    <a:pt x="15" y="61"/>
                    <a:pt x="17" y="64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28" y="75"/>
                    <a:pt x="28" y="75"/>
                    <a:pt x="28" y="75"/>
                  </a:cubicBezTo>
                </a:path>
              </a:pathLst>
            </a:custGeom>
            <a:noFill/>
            <a:ln w="6350" cap="rnd">
              <a:solidFill>
                <a:srgbClr val="41ECF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52" name="Line 121">
              <a:extLst>
                <a:ext uri="{FF2B5EF4-FFF2-40B4-BE49-F238E27FC236}">
                  <a16:creationId xmlns:a16="http://schemas.microsoft.com/office/drawing/2014/main" id="{41E721A8-65D7-407C-9C29-787DFBBA6B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7175" y="3557588"/>
              <a:ext cx="44450" cy="0"/>
            </a:xfrm>
            <a:prstGeom prst="line">
              <a:avLst/>
            </a:prstGeom>
            <a:noFill/>
            <a:ln w="6350" cap="rnd">
              <a:solidFill>
                <a:srgbClr val="41ECF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53" name="Line 122">
              <a:extLst>
                <a:ext uri="{FF2B5EF4-FFF2-40B4-BE49-F238E27FC236}">
                  <a16:creationId xmlns:a16="http://schemas.microsoft.com/office/drawing/2014/main" id="{9B20ED38-3028-4735-BF85-6C0F6F15BA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7175" y="3587750"/>
              <a:ext cx="44450" cy="0"/>
            </a:xfrm>
            <a:prstGeom prst="line">
              <a:avLst/>
            </a:prstGeom>
            <a:noFill/>
            <a:ln w="6350" cap="rnd">
              <a:solidFill>
                <a:srgbClr val="41ECF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54" name="Line 123">
              <a:extLst>
                <a:ext uri="{FF2B5EF4-FFF2-40B4-BE49-F238E27FC236}">
                  <a16:creationId xmlns:a16="http://schemas.microsoft.com/office/drawing/2014/main" id="{9D09DB5D-00DE-4992-8895-8BEDDD2E98F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99400" y="3587750"/>
              <a:ext cx="0" cy="14288"/>
            </a:xfrm>
            <a:prstGeom prst="line">
              <a:avLst/>
            </a:prstGeom>
            <a:noFill/>
            <a:ln w="6350" cap="rnd">
              <a:solidFill>
                <a:srgbClr val="41ECF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55" name="Freeform 124">
              <a:extLst>
                <a:ext uri="{FF2B5EF4-FFF2-40B4-BE49-F238E27FC236}">
                  <a16:creationId xmlns:a16="http://schemas.microsoft.com/office/drawing/2014/main" id="{84101D81-D3D7-48A1-BC9F-01E1A421379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2088" y="3346450"/>
              <a:ext cx="173038" cy="180975"/>
            </a:xfrm>
            <a:custGeom>
              <a:avLst/>
              <a:gdLst>
                <a:gd name="T0" fmla="*/ 46 w 46"/>
                <a:gd name="T1" fmla="*/ 22 h 48"/>
                <a:gd name="T2" fmla="*/ 23 w 46"/>
                <a:gd name="T3" fmla="*/ 0 h 48"/>
                <a:gd name="T4" fmla="*/ 0 w 46"/>
                <a:gd name="T5" fmla="*/ 22 h 48"/>
                <a:gd name="T6" fmla="*/ 17 w 46"/>
                <a:gd name="T7" fmla="*/ 43 h 48"/>
                <a:gd name="T8" fmla="*/ 17 w 46"/>
                <a:gd name="T9" fmla="*/ 48 h 48"/>
                <a:gd name="T10" fmla="*/ 29 w 46"/>
                <a:gd name="T11" fmla="*/ 48 h 48"/>
                <a:gd name="T12" fmla="*/ 29 w 46"/>
                <a:gd name="T13" fmla="*/ 43 h 48"/>
                <a:gd name="T14" fmla="*/ 46 w 46"/>
                <a:gd name="T15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" h="48">
                  <a:moveTo>
                    <a:pt x="46" y="22"/>
                  </a:moveTo>
                  <a:cubicBezTo>
                    <a:pt x="46" y="10"/>
                    <a:pt x="36" y="0"/>
                    <a:pt x="23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32"/>
                    <a:pt x="7" y="41"/>
                    <a:pt x="17" y="43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39" y="41"/>
                    <a:pt x="46" y="32"/>
                    <a:pt x="46" y="22"/>
                  </a:cubicBezTo>
                  <a:close/>
                </a:path>
              </a:pathLst>
            </a:custGeom>
            <a:noFill/>
            <a:ln w="6350" cap="rnd">
              <a:solidFill>
                <a:srgbClr val="41ECF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3D0604F2-846F-44C2-96FD-E29893E89D32}"/>
              </a:ext>
            </a:extLst>
          </p:cNvPr>
          <p:cNvGrpSpPr/>
          <p:nvPr/>
        </p:nvGrpSpPr>
        <p:grpSpPr>
          <a:xfrm>
            <a:off x="8150212" y="3700702"/>
            <a:ext cx="161447" cy="161447"/>
            <a:chOff x="3398838" y="3979863"/>
            <a:chExt cx="346075" cy="346075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9C47975C-A432-4235-8C0F-7ED8D2E4D0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3979863"/>
              <a:ext cx="300038" cy="301625"/>
            </a:xfrm>
            <a:prstGeom prst="ellipse">
              <a:avLst/>
            </a:prstGeom>
            <a:noFill/>
            <a:ln w="6350" cap="rnd">
              <a:solidFill>
                <a:srgbClr val="41ECF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48" name="Line 126">
              <a:extLst>
                <a:ext uri="{FF2B5EF4-FFF2-40B4-BE49-F238E27FC236}">
                  <a16:creationId xmlns:a16="http://schemas.microsoft.com/office/drawing/2014/main" id="{8F5B108C-0866-4308-A34D-318DAF3DA7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5" y="4235450"/>
              <a:ext cx="90488" cy="90488"/>
            </a:xfrm>
            <a:prstGeom prst="line">
              <a:avLst/>
            </a:prstGeom>
            <a:noFill/>
            <a:ln w="6350" cap="rnd">
              <a:solidFill>
                <a:srgbClr val="41ECF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49" name="Freeform 127">
              <a:extLst>
                <a:ext uri="{FF2B5EF4-FFF2-40B4-BE49-F238E27FC236}">
                  <a16:creationId xmlns:a16="http://schemas.microsoft.com/office/drawing/2014/main" id="{7F3CB822-E2A7-4C81-BA58-4DA4BC8ACF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225" y="4032250"/>
              <a:ext cx="195263" cy="196850"/>
            </a:xfrm>
            <a:custGeom>
              <a:avLst/>
              <a:gdLst>
                <a:gd name="T0" fmla="*/ 46 w 52"/>
                <a:gd name="T1" fmla="*/ 44 h 52"/>
                <a:gd name="T2" fmla="*/ 52 w 52"/>
                <a:gd name="T3" fmla="*/ 34 h 52"/>
                <a:gd name="T4" fmla="*/ 46 w 52"/>
                <a:gd name="T5" fmla="*/ 30 h 52"/>
                <a:gd name="T6" fmla="*/ 46 w 52"/>
                <a:gd name="T7" fmla="*/ 22 h 52"/>
                <a:gd name="T8" fmla="*/ 52 w 52"/>
                <a:gd name="T9" fmla="*/ 18 h 52"/>
                <a:gd name="T10" fmla="*/ 46 w 52"/>
                <a:gd name="T11" fmla="*/ 8 h 52"/>
                <a:gd name="T12" fmla="*/ 40 w 52"/>
                <a:gd name="T13" fmla="*/ 11 h 52"/>
                <a:gd name="T14" fmla="*/ 32 w 52"/>
                <a:gd name="T15" fmla="*/ 7 h 52"/>
                <a:gd name="T16" fmla="*/ 32 w 52"/>
                <a:gd name="T17" fmla="*/ 0 h 52"/>
                <a:gd name="T18" fmla="*/ 20 w 52"/>
                <a:gd name="T19" fmla="*/ 0 h 52"/>
                <a:gd name="T20" fmla="*/ 20 w 52"/>
                <a:gd name="T21" fmla="*/ 7 h 52"/>
                <a:gd name="T22" fmla="*/ 13 w 52"/>
                <a:gd name="T23" fmla="*/ 11 h 52"/>
                <a:gd name="T24" fmla="*/ 7 w 52"/>
                <a:gd name="T25" fmla="*/ 8 h 52"/>
                <a:gd name="T26" fmla="*/ 1 w 52"/>
                <a:gd name="T27" fmla="*/ 18 h 52"/>
                <a:gd name="T28" fmla="*/ 7 w 52"/>
                <a:gd name="T29" fmla="*/ 22 h 52"/>
                <a:gd name="T30" fmla="*/ 6 w 52"/>
                <a:gd name="T31" fmla="*/ 30 h 52"/>
                <a:gd name="T32" fmla="*/ 0 w 52"/>
                <a:gd name="T33" fmla="*/ 34 h 52"/>
                <a:gd name="T34" fmla="*/ 6 w 52"/>
                <a:gd name="T35" fmla="*/ 44 h 52"/>
                <a:gd name="T36" fmla="*/ 13 w 52"/>
                <a:gd name="T37" fmla="*/ 41 h 52"/>
                <a:gd name="T38" fmla="*/ 20 w 52"/>
                <a:gd name="T39" fmla="*/ 45 h 52"/>
                <a:gd name="T40" fmla="*/ 20 w 52"/>
                <a:gd name="T41" fmla="*/ 52 h 52"/>
                <a:gd name="T42" fmla="*/ 32 w 52"/>
                <a:gd name="T43" fmla="*/ 52 h 52"/>
                <a:gd name="T44" fmla="*/ 32 w 52"/>
                <a:gd name="T45" fmla="*/ 45 h 52"/>
                <a:gd name="T46" fmla="*/ 40 w 52"/>
                <a:gd name="T47" fmla="*/ 41 h 52"/>
                <a:gd name="T48" fmla="*/ 46 w 52"/>
                <a:gd name="T49" fmla="*/ 4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2" h="52">
                  <a:moveTo>
                    <a:pt x="46" y="44"/>
                  </a:moveTo>
                  <a:cubicBezTo>
                    <a:pt x="52" y="34"/>
                    <a:pt x="52" y="34"/>
                    <a:pt x="52" y="34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28"/>
                    <a:pt x="46" y="25"/>
                    <a:pt x="46" y="22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38" y="9"/>
                    <a:pt x="34" y="8"/>
                    <a:pt x="32" y="7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6" y="8"/>
                    <a:pt x="15" y="9"/>
                    <a:pt x="13" y="11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6" y="24"/>
                    <a:pt x="6" y="27"/>
                    <a:pt x="6" y="3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13" y="41"/>
                    <a:pt x="13" y="41"/>
                    <a:pt x="13" y="41"/>
                  </a:cubicBezTo>
                  <a:cubicBezTo>
                    <a:pt x="15" y="43"/>
                    <a:pt x="16" y="44"/>
                    <a:pt x="20" y="45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45"/>
                    <a:pt x="32" y="45"/>
                    <a:pt x="32" y="45"/>
                  </a:cubicBezTo>
                  <a:cubicBezTo>
                    <a:pt x="34" y="44"/>
                    <a:pt x="38" y="43"/>
                    <a:pt x="40" y="41"/>
                  </a:cubicBezTo>
                  <a:lnTo>
                    <a:pt x="46" y="44"/>
                  </a:lnTo>
                  <a:close/>
                </a:path>
              </a:pathLst>
            </a:custGeom>
            <a:noFill/>
            <a:ln w="6350" cap="flat">
              <a:solidFill>
                <a:srgbClr val="41ECF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66A87CFF-5F13-4E41-AEAB-91A4AF0BF9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4100513"/>
              <a:ext cx="60325" cy="60325"/>
            </a:xfrm>
            <a:prstGeom prst="ellipse">
              <a:avLst/>
            </a:prstGeom>
            <a:noFill/>
            <a:ln w="6350" cap="flat">
              <a:solidFill>
                <a:srgbClr val="41ECF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15958794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0"/>
            <a:ext cx="12188891" cy="3236914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Rectangle 48"/>
          <p:cNvSpPr>
            <a:spLocks noChangeArrowheads="1"/>
          </p:cNvSpPr>
          <p:nvPr/>
        </p:nvSpPr>
        <p:spPr bwMode="auto">
          <a:xfrm>
            <a:off x="0" y="3230294"/>
            <a:ext cx="12188890" cy="3627706"/>
          </a:xfrm>
          <a:prstGeom prst="rect">
            <a:avLst/>
          </a:prstGeom>
          <a:gradFill flip="none" rotWithShape="1">
            <a:gsLst>
              <a:gs pos="100000">
                <a:srgbClr val="070C1E"/>
              </a:gs>
              <a:gs pos="0">
                <a:srgbClr val="122141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116" name="Straight Connector 115"/>
          <p:cNvCxnSpPr/>
          <p:nvPr/>
        </p:nvCxnSpPr>
        <p:spPr>
          <a:xfrm>
            <a:off x="0" y="3489326"/>
            <a:ext cx="10500346" cy="0"/>
          </a:xfrm>
          <a:prstGeom prst="line">
            <a:avLst/>
          </a:prstGeom>
          <a:ln w="28575">
            <a:solidFill>
              <a:srgbClr val="B0F7F4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/>
        </p:nvGrpSpPr>
        <p:grpSpPr>
          <a:xfrm>
            <a:off x="721677" y="901249"/>
            <a:ext cx="10809135" cy="1239841"/>
            <a:chOff x="814298" y="3603943"/>
            <a:chExt cx="10809135" cy="1239841"/>
          </a:xfrm>
        </p:grpSpPr>
        <p:sp>
          <p:nvSpPr>
            <p:cNvPr id="17" name="Oval 58"/>
            <p:cNvSpPr>
              <a:spLocks noChangeArrowheads="1"/>
            </p:cNvSpPr>
            <p:nvPr/>
          </p:nvSpPr>
          <p:spPr bwMode="auto">
            <a:xfrm>
              <a:off x="2519653" y="4608849"/>
              <a:ext cx="72644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Oval 59"/>
            <p:cNvSpPr>
              <a:spLocks noChangeArrowheads="1"/>
            </p:cNvSpPr>
            <p:nvPr/>
          </p:nvSpPr>
          <p:spPr bwMode="auto">
            <a:xfrm>
              <a:off x="4933869" y="4743624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Oval 60"/>
            <p:cNvSpPr>
              <a:spLocks noChangeArrowheads="1"/>
            </p:cNvSpPr>
            <p:nvPr/>
          </p:nvSpPr>
          <p:spPr bwMode="auto">
            <a:xfrm>
              <a:off x="5415075" y="3921423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Oval 61"/>
            <p:cNvSpPr>
              <a:spLocks noChangeArrowheads="1"/>
            </p:cNvSpPr>
            <p:nvPr/>
          </p:nvSpPr>
          <p:spPr bwMode="auto">
            <a:xfrm>
              <a:off x="814298" y="4182814"/>
              <a:ext cx="72644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Oval 62"/>
            <p:cNvSpPr>
              <a:spLocks noChangeArrowheads="1"/>
            </p:cNvSpPr>
            <p:nvPr/>
          </p:nvSpPr>
          <p:spPr bwMode="auto">
            <a:xfrm>
              <a:off x="1949695" y="4214689"/>
              <a:ext cx="7533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Oval 63"/>
            <p:cNvSpPr>
              <a:spLocks noChangeArrowheads="1"/>
            </p:cNvSpPr>
            <p:nvPr/>
          </p:nvSpPr>
          <p:spPr bwMode="auto">
            <a:xfrm>
              <a:off x="3917805" y="4007520"/>
              <a:ext cx="76680" cy="73989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Oval 64"/>
            <p:cNvSpPr>
              <a:spLocks noChangeArrowheads="1"/>
            </p:cNvSpPr>
            <p:nvPr/>
          </p:nvSpPr>
          <p:spPr bwMode="auto">
            <a:xfrm>
              <a:off x="7754634" y="4693116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Oval 65"/>
            <p:cNvSpPr>
              <a:spLocks noChangeArrowheads="1"/>
            </p:cNvSpPr>
            <p:nvPr/>
          </p:nvSpPr>
          <p:spPr bwMode="auto">
            <a:xfrm>
              <a:off x="6117299" y="4625688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66"/>
            <p:cNvSpPr>
              <a:spLocks noChangeArrowheads="1"/>
            </p:cNvSpPr>
            <p:nvPr/>
          </p:nvSpPr>
          <p:spPr bwMode="auto">
            <a:xfrm>
              <a:off x="9675018" y="4768450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Oval 67"/>
            <p:cNvSpPr>
              <a:spLocks noChangeArrowheads="1"/>
            </p:cNvSpPr>
            <p:nvPr/>
          </p:nvSpPr>
          <p:spPr bwMode="auto">
            <a:xfrm>
              <a:off x="1189625" y="4272535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Oval 68"/>
            <p:cNvSpPr>
              <a:spLocks noChangeArrowheads="1"/>
            </p:cNvSpPr>
            <p:nvPr/>
          </p:nvSpPr>
          <p:spPr bwMode="auto">
            <a:xfrm>
              <a:off x="6664818" y="3816493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Oval 69"/>
            <p:cNvSpPr>
              <a:spLocks noChangeArrowheads="1"/>
            </p:cNvSpPr>
            <p:nvPr/>
          </p:nvSpPr>
          <p:spPr bwMode="auto">
            <a:xfrm>
              <a:off x="11226976" y="4275707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Oval 70"/>
            <p:cNvSpPr>
              <a:spLocks noChangeArrowheads="1"/>
            </p:cNvSpPr>
            <p:nvPr/>
          </p:nvSpPr>
          <p:spPr bwMode="auto">
            <a:xfrm>
              <a:off x="10592967" y="3603943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Oval 71"/>
            <p:cNvSpPr>
              <a:spLocks noChangeArrowheads="1"/>
            </p:cNvSpPr>
            <p:nvPr/>
          </p:nvSpPr>
          <p:spPr bwMode="auto">
            <a:xfrm>
              <a:off x="9224973" y="3921423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Oval 72"/>
            <p:cNvSpPr>
              <a:spLocks noChangeArrowheads="1"/>
            </p:cNvSpPr>
            <p:nvPr/>
          </p:nvSpPr>
          <p:spPr bwMode="auto">
            <a:xfrm>
              <a:off x="7267601" y="4033708"/>
              <a:ext cx="76680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Oval 73"/>
            <p:cNvSpPr>
              <a:spLocks noChangeArrowheads="1"/>
            </p:cNvSpPr>
            <p:nvPr/>
          </p:nvSpPr>
          <p:spPr bwMode="auto">
            <a:xfrm>
              <a:off x="8406483" y="4471768"/>
              <a:ext cx="7264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74"/>
            <p:cNvSpPr>
              <a:spLocks noChangeArrowheads="1"/>
            </p:cNvSpPr>
            <p:nvPr/>
          </p:nvSpPr>
          <p:spPr bwMode="auto">
            <a:xfrm>
              <a:off x="2841598" y="4281114"/>
              <a:ext cx="7264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Oval 75"/>
            <p:cNvSpPr>
              <a:spLocks noChangeArrowheads="1"/>
            </p:cNvSpPr>
            <p:nvPr/>
          </p:nvSpPr>
          <p:spPr bwMode="auto">
            <a:xfrm>
              <a:off x="4025425" y="4214689"/>
              <a:ext cx="76680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Oval 76"/>
            <p:cNvSpPr>
              <a:spLocks noChangeArrowheads="1"/>
            </p:cNvSpPr>
            <p:nvPr/>
          </p:nvSpPr>
          <p:spPr bwMode="auto">
            <a:xfrm>
              <a:off x="11549444" y="3846089"/>
              <a:ext cx="73989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Oval 77"/>
            <p:cNvSpPr>
              <a:spLocks noChangeArrowheads="1"/>
            </p:cNvSpPr>
            <p:nvPr/>
          </p:nvSpPr>
          <p:spPr bwMode="auto">
            <a:xfrm>
              <a:off x="6738807" y="4421859"/>
              <a:ext cx="7533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Oval 78"/>
            <p:cNvSpPr>
              <a:spLocks noChangeArrowheads="1"/>
            </p:cNvSpPr>
            <p:nvPr/>
          </p:nvSpPr>
          <p:spPr bwMode="auto">
            <a:xfrm>
              <a:off x="10421719" y="4214689"/>
              <a:ext cx="76680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Oval 79"/>
            <p:cNvSpPr>
              <a:spLocks noChangeArrowheads="1"/>
            </p:cNvSpPr>
            <p:nvPr/>
          </p:nvSpPr>
          <p:spPr bwMode="auto">
            <a:xfrm>
              <a:off x="7895232" y="3739406"/>
              <a:ext cx="73989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9" name="TextBox 38"/>
          <p:cNvSpPr txBox="1"/>
          <p:nvPr/>
        </p:nvSpPr>
        <p:spPr>
          <a:xfrm>
            <a:off x="826809" y="589490"/>
            <a:ext cx="2351991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4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DIAGRAM</a:t>
            </a:r>
            <a:endParaRPr lang="en-US" sz="40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126" name="Group 125"/>
          <p:cNvGrpSpPr/>
          <p:nvPr/>
        </p:nvGrpSpPr>
        <p:grpSpPr>
          <a:xfrm>
            <a:off x="1119850" y="2200438"/>
            <a:ext cx="798223" cy="798223"/>
            <a:chOff x="1119850" y="3102138"/>
            <a:chExt cx="798223" cy="798223"/>
          </a:xfrm>
        </p:grpSpPr>
        <p:sp>
          <p:nvSpPr>
            <p:cNvPr id="117" name="Rectangle 116"/>
            <p:cNvSpPr/>
            <p:nvPr/>
          </p:nvSpPr>
          <p:spPr>
            <a:xfrm rot="2700000">
              <a:off x="1119850" y="3102138"/>
              <a:ext cx="798223" cy="798223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 rot="2700000">
              <a:off x="1211935" y="3194225"/>
              <a:ext cx="614052" cy="614052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/>
          <p:cNvGrpSpPr/>
          <p:nvPr/>
        </p:nvGrpSpPr>
        <p:grpSpPr>
          <a:xfrm>
            <a:off x="3357333" y="2200438"/>
            <a:ext cx="798223" cy="798223"/>
            <a:chOff x="1119850" y="3102138"/>
            <a:chExt cx="798223" cy="798223"/>
          </a:xfrm>
        </p:grpSpPr>
        <p:sp>
          <p:nvSpPr>
            <p:cNvPr id="128" name="Rectangle 127"/>
            <p:cNvSpPr/>
            <p:nvPr/>
          </p:nvSpPr>
          <p:spPr>
            <a:xfrm rot="2700000">
              <a:off x="1119850" y="3102138"/>
              <a:ext cx="798223" cy="798223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 rot="2700000">
              <a:off x="1211935" y="3194225"/>
              <a:ext cx="614052" cy="614052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30" name="Group 129"/>
          <p:cNvGrpSpPr/>
          <p:nvPr/>
        </p:nvGrpSpPr>
        <p:grpSpPr>
          <a:xfrm>
            <a:off x="5594816" y="2200438"/>
            <a:ext cx="798223" cy="798223"/>
            <a:chOff x="1119850" y="3102138"/>
            <a:chExt cx="798223" cy="798223"/>
          </a:xfrm>
        </p:grpSpPr>
        <p:sp>
          <p:nvSpPr>
            <p:cNvPr id="131" name="Rectangle 130"/>
            <p:cNvSpPr/>
            <p:nvPr/>
          </p:nvSpPr>
          <p:spPr>
            <a:xfrm rot="2700000">
              <a:off x="1119850" y="3102138"/>
              <a:ext cx="798223" cy="798223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2" name="Rectangle 131"/>
            <p:cNvSpPr/>
            <p:nvPr/>
          </p:nvSpPr>
          <p:spPr>
            <a:xfrm rot="2700000">
              <a:off x="1211935" y="3194225"/>
              <a:ext cx="614052" cy="614052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33" name="Group 132"/>
          <p:cNvGrpSpPr/>
          <p:nvPr/>
        </p:nvGrpSpPr>
        <p:grpSpPr>
          <a:xfrm>
            <a:off x="7832299" y="2200438"/>
            <a:ext cx="798223" cy="798223"/>
            <a:chOff x="1119850" y="3102138"/>
            <a:chExt cx="798223" cy="798223"/>
          </a:xfrm>
        </p:grpSpPr>
        <p:sp>
          <p:nvSpPr>
            <p:cNvPr id="134" name="Rectangle 133"/>
            <p:cNvSpPr/>
            <p:nvPr/>
          </p:nvSpPr>
          <p:spPr>
            <a:xfrm rot="2700000">
              <a:off x="1119850" y="3102138"/>
              <a:ext cx="798223" cy="798223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5" name="Rectangle 134"/>
            <p:cNvSpPr/>
            <p:nvPr/>
          </p:nvSpPr>
          <p:spPr>
            <a:xfrm rot="2700000">
              <a:off x="1211935" y="3194225"/>
              <a:ext cx="614052" cy="614052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36" name="Group 135"/>
          <p:cNvGrpSpPr/>
          <p:nvPr/>
        </p:nvGrpSpPr>
        <p:grpSpPr>
          <a:xfrm>
            <a:off x="10069780" y="2205769"/>
            <a:ext cx="798223" cy="798223"/>
            <a:chOff x="1119850" y="3102138"/>
            <a:chExt cx="798223" cy="798223"/>
          </a:xfrm>
        </p:grpSpPr>
        <p:sp>
          <p:nvSpPr>
            <p:cNvPr id="137" name="Rectangle 136"/>
            <p:cNvSpPr/>
            <p:nvPr/>
          </p:nvSpPr>
          <p:spPr>
            <a:xfrm rot="2700000">
              <a:off x="1119850" y="3102138"/>
              <a:ext cx="798223" cy="798223"/>
            </a:xfrm>
            <a:prstGeom prst="rect">
              <a:avLst/>
            </a:pr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8" name="Rectangle 137"/>
            <p:cNvSpPr/>
            <p:nvPr/>
          </p:nvSpPr>
          <p:spPr>
            <a:xfrm rot="2700000">
              <a:off x="1211935" y="3194225"/>
              <a:ext cx="614052" cy="614052"/>
            </a:xfrm>
            <a:prstGeom prst="rect">
              <a:avLst/>
            </a:prstGeom>
            <a:gradFill flip="none" rotWithShape="1">
              <a:gsLst>
                <a:gs pos="100000">
                  <a:srgbClr val="B0F7F4"/>
                </a:gs>
                <a:gs pos="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39" name="Group 138"/>
          <p:cNvGrpSpPr/>
          <p:nvPr/>
        </p:nvGrpSpPr>
        <p:grpSpPr>
          <a:xfrm>
            <a:off x="8088535" y="2477862"/>
            <a:ext cx="285750" cy="287338"/>
            <a:chOff x="2025650" y="4786313"/>
            <a:chExt cx="285750" cy="287338"/>
          </a:xfrm>
          <a:solidFill>
            <a:srgbClr val="125680"/>
          </a:solidFill>
          <a:effectLst/>
        </p:grpSpPr>
        <p:sp>
          <p:nvSpPr>
            <p:cNvPr id="140" name="Freeform 565"/>
            <p:cNvSpPr>
              <a:spLocks noEditPoints="1"/>
            </p:cNvSpPr>
            <p:nvPr/>
          </p:nvSpPr>
          <p:spPr bwMode="auto">
            <a:xfrm>
              <a:off x="2025650" y="4786313"/>
              <a:ext cx="285750" cy="287338"/>
            </a:xfrm>
            <a:custGeom>
              <a:avLst/>
              <a:gdLst>
                <a:gd name="T0" fmla="*/ 812 w 903"/>
                <a:gd name="T1" fmla="*/ 500 h 903"/>
                <a:gd name="T2" fmla="*/ 810 w 903"/>
                <a:gd name="T3" fmla="*/ 505 h 903"/>
                <a:gd name="T4" fmla="*/ 806 w 903"/>
                <a:gd name="T5" fmla="*/ 509 h 903"/>
                <a:gd name="T6" fmla="*/ 800 w 903"/>
                <a:gd name="T7" fmla="*/ 511 h 903"/>
                <a:gd name="T8" fmla="*/ 105 w 903"/>
                <a:gd name="T9" fmla="*/ 511 h 903"/>
                <a:gd name="T10" fmla="*/ 99 w 903"/>
                <a:gd name="T11" fmla="*/ 510 h 903"/>
                <a:gd name="T12" fmla="*/ 95 w 903"/>
                <a:gd name="T13" fmla="*/ 507 h 903"/>
                <a:gd name="T14" fmla="*/ 92 w 903"/>
                <a:gd name="T15" fmla="*/ 502 h 903"/>
                <a:gd name="T16" fmla="*/ 90 w 903"/>
                <a:gd name="T17" fmla="*/ 496 h 903"/>
                <a:gd name="T18" fmla="*/ 90 w 903"/>
                <a:gd name="T19" fmla="*/ 105 h 903"/>
                <a:gd name="T20" fmla="*/ 92 w 903"/>
                <a:gd name="T21" fmla="*/ 100 h 903"/>
                <a:gd name="T22" fmla="*/ 95 w 903"/>
                <a:gd name="T23" fmla="*/ 94 h 903"/>
                <a:gd name="T24" fmla="*/ 99 w 903"/>
                <a:gd name="T25" fmla="*/ 91 h 903"/>
                <a:gd name="T26" fmla="*/ 105 w 903"/>
                <a:gd name="T27" fmla="*/ 90 h 903"/>
                <a:gd name="T28" fmla="*/ 800 w 903"/>
                <a:gd name="T29" fmla="*/ 90 h 903"/>
                <a:gd name="T30" fmla="*/ 806 w 903"/>
                <a:gd name="T31" fmla="*/ 92 h 903"/>
                <a:gd name="T32" fmla="*/ 810 w 903"/>
                <a:gd name="T33" fmla="*/ 96 h 903"/>
                <a:gd name="T34" fmla="*/ 812 w 903"/>
                <a:gd name="T35" fmla="*/ 102 h 903"/>
                <a:gd name="T36" fmla="*/ 813 w 903"/>
                <a:gd name="T37" fmla="*/ 496 h 903"/>
                <a:gd name="T38" fmla="*/ 15 w 903"/>
                <a:gd name="T39" fmla="*/ 0 h 903"/>
                <a:gd name="T40" fmla="*/ 9 w 903"/>
                <a:gd name="T41" fmla="*/ 1 h 903"/>
                <a:gd name="T42" fmla="*/ 5 w 903"/>
                <a:gd name="T43" fmla="*/ 4 h 903"/>
                <a:gd name="T44" fmla="*/ 1 w 903"/>
                <a:gd name="T45" fmla="*/ 8 h 903"/>
                <a:gd name="T46" fmla="*/ 0 w 903"/>
                <a:gd name="T47" fmla="*/ 15 h 903"/>
                <a:gd name="T48" fmla="*/ 0 w 903"/>
                <a:gd name="T49" fmla="*/ 590 h 903"/>
                <a:gd name="T50" fmla="*/ 2 w 903"/>
                <a:gd name="T51" fmla="*/ 595 h 903"/>
                <a:gd name="T52" fmla="*/ 7 w 903"/>
                <a:gd name="T53" fmla="*/ 599 h 903"/>
                <a:gd name="T54" fmla="*/ 12 w 903"/>
                <a:gd name="T55" fmla="*/ 602 h 903"/>
                <a:gd name="T56" fmla="*/ 437 w 903"/>
                <a:gd name="T57" fmla="*/ 602 h 903"/>
                <a:gd name="T58" fmla="*/ 260 w 903"/>
                <a:gd name="T59" fmla="*/ 877 h 903"/>
                <a:gd name="T60" fmla="*/ 257 w 903"/>
                <a:gd name="T61" fmla="*/ 883 h 903"/>
                <a:gd name="T62" fmla="*/ 256 w 903"/>
                <a:gd name="T63" fmla="*/ 888 h 903"/>
                <a:gd name="T64" fmla="*/ 257 w 903"/>
                <a:gd name="T65" fmla="*/ 893 h 903"/>
                <a:gd name="T66" fmla="*/ 260 w 903"/>
                <a:gd name="T67" fmla="*/ 899 h 903"/>
                <a:gd name="T68" fmla="*/ 265 w 903"/>
                <a:gd name="T69" fmla="*/ 902 h 903"/>
                <a:gd name="T70" fmla="*/ 271 w 903"/>
                <a:gd name="T71" fmla="*/ 903 h 903"/>
                <a:gd name="T72" fmla="*/ 277 w 903"/>
                <a:gd name="T73" fmla="*/ 902 h 903"/>
                <a:gd name="T74" fmla="*/ 281 w 903"/>
                <a:gd name="T75" fmla="*/ 899 h 903"/>
                <a:gd name="T76" fmla="*/ 621 w 903"/>
                <a:gd name="T77" fmla="*/ 899 h 903"/>
                <a:gd name="T78" fmla="*/ 627 w 903"/>
                <a:gd name="T79" fmla="*/ 902 h 903"/>
                <a:gd name="T80" fmla="*/ 632 w 903"/>
                <a:gd name="T81" fmla="*/ 903 h 903"/>
                <a:gd name="T82" fmla="*/ 637 w 903"/>
                <a:gd name="T83" fmla="*/ 902 h 903"/>
                <a:gd name="T84" fmla="*/ 643 w 903"/>
                <a:gd name="T85" fmla="*/ 899 h 903"/>
                <a:gd name="T86" fmla="*/ 646 w 903"/>
                <a:gd name="T87" fmla="*/ 893 h 903"/>
                <a:gd name="T88" fmla="*/ 647 w 903"/>
                <a:gd name="T89" fmla="*/ 888 h 903"/>
                <a:gd name="T90" fmla="*/ 646 w 903"/>
                <a:gd name="T91" fmla="*/ 883 h 903"/>
                <a:gd name="T92" fmla="*/ 643 w 903"/>
                <a:gd name="T93" fmla="*/ 877 h 903"/>
                <a:gd name="T94" fmla="*/ 467 w 903"/>
                <a:gd name="T95" fmla="*/ 602 h 903"/>
                <a:gd name="T96" fmla="*/ 892 w 903"/>
                <a:gd name="T97" fmla="*/ 602 h 903"/>
                <a:gd name="T98" fmla="*/ 897 w 903"/>
                <a:gd name="T99" fmla="*/ 599 h 903"/>
                <a:gd name="T100" fmla="*/ 900 w 903"/>
                <a:gd name="T101" fmla="*/ 595 h 903"/>
                <a:gd name="T102" fmla="*/ 902 w 903"/>
                <a:gd name="T103" fmla="*/ 590 h 903"/>
                <a:gd name="T104" fmla="*/ 903 w 903"/>
                <a:gd name="T105" fmla="*/ 15 h 903"/>
                <a:gd name="T106" fmla="*/ 902 w 903"/>
                <a:gd name="T107" fmla="*/ 8 h 903"/>
                <a:gd name="T108" fmla="*/ 899 w 903"/>
                <a:gd name="T109" fmla="*/ 4 h 903"/>
                <a:gd name="T110" fmla="*/ 894 w 903"/>
                <a:gd name="T111" fmla="*/ 1 h 903"/>
                <a:gd name="T112" fmla="*/ 888 w 903"/>
                <a:gd name="T113" fmla="*/ 0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3" h="903">
                  <a:moveTo>
                    <a:pt x="813" y="496"/>
                  </a:moveTo>
                  <a:lnTo>
                    <a:pt x="812" y="500"/>
                  </a:lnTo>
                  <a:lnTo>
                    <a:pt x="811" y="502"/>
                  </a:lnTo>
                  <a:lnTo>
                    <a:pt x="810" y="505"/>
                  </a:lnTo>
                  <a:lnTo>
                    <a:pt x="808" y="507"/>
                  </a:lnTo>
                  <a:lnTo>
                    <a:pt x="806" y="509"/>
                  </a:lnTo>
                  <a:lnTo>
                    <a:pt x="804" y="510"/>
                  </a:lnTo>
                  <a:lnTo>
                    <a:pt x="800" y="511"/>
                  </a:lnTo>
                  <a:lnTo>
                    <a:pt x="797" y="511"/>
                  </a:lnTo>
                  <a:lnTo>
                    <a:pt x="105" y="511"/>
                  </a:lnTo>
                  <a:lnTo>
                    <a:pt x="102" y="511"/>
                  </a:lnTo>
                  <a:lnTo>
                    <a:pt x="99" y="510"/>
                  </a:lnTo>
                  <a:lnTo>
                    <a:pt x="97" y="509"/>
                  </a:lnTo>
                  <a:lnTo>
                    <a:pt x="95" y="507"/>
                  </a:lnTo>
                  <a:lnTo>
                    <a:pt x="93" y="505"/>
                  </a:lnTo>
                  <a:lnTo>
                    <a:pt x="92" y="502"/>
                  </a:lnTo>
                  <a:lnTo>
                    <a:pt x="90" y="500"/>
                  </a:lnTo>
                  <a:lnTo>
                    <a:pt x="90" y="496"/>
                  </a:lnTo>
                  <a:lnTo>
                    <a:pt x="90" y="316"/>
                  </a:lnTo>
                  <a:lnTo>
                    <a:pt x="90" y="105"/>
                  </a:lnTo>
                  <a:lnTo>
                    <a:pt x="90" y="102"/>
                  </a:lnTo>
                  <a:lnTo>
                    <a:pt x="92" y="100"/>
                  </a:lnTo>
                  <a:lnTo>
                    <a:pt x="93" y="96"/>
                  </a:lnTo>
                  <a:lnTo>
                    <a:pt x="95" y="94"/>
                  </a:lnTo>
                  <a:lnTo>
                    <a:pt x="97" y="92"/>
                  </a:lnTo>
                  <a:lnTo>
                    <a:pt x="99" y="91"/>
                  </a:lnTo>
                  <a:lnTo>
                    <a:pt x="102" y="90"/>
                  </a:lnTo>
                  <a:lnTo>
                    <a:pt x="105" y="90"/>
                  </a:lnTo>
                  <a:lnTo>
                    <a:pt x="798" y="90"/>
                  </a:lnTo>
                  <a:lnTo>
                    <a:pt x="800" y="90"/>
                  </a:lnTo>
                  <a:lnTo>
                    <a:pt x="804" y="91"/>
                  </a:lnTo>
                  <a:lnTo>
                    <a:pt x="806" y="92"/>
                  </a:lnTo>
                  <a:lnTo>
                    <a:pt x="808" y="94"/>
                  </a:lnTo>
                  <a:lnTo>
                    <a:pt x="810" y="96"/>
                  </a:lnTo>
                  <a:lnTo>
                    <a:pt x="811" y="100"/>
                  </a:lnTo>
                  <a:lnTo>
                    <a:pt x="812" y="102"/>
                  </a:lnTo>
                  <a:lnTo>
                    <a:pt x="813" y="105"/>
                  </a:lnTo>
                  <a:lnTo>
                    <a:pt x="813" y="496"/>
                  </a:lnTo>
                  <a:close/>
                  <a:moveTo>
                    <a:pt x="888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587"/>
                  </a:lnTo>
                  <a:lnTo>
                    <a:pt x="0" y="590"/>
                  </a:lnTo>
                  <a:lnTo>
                    <a:pt x="1" y="593"/>
                  </a:lnTo>
                  <a:lnTo>
                    <a:pt x="2" y="595"/>
                  </a:lnTo>
                  <a:lnTo>
                    <a:pt x="5" y="597"/>
                  </a:lnTo>
                  <a:lnTo>
                    <a:pt x="7" y="599"/>
                  </a:lnTo>
                  <a:lnTo>
                    <a:pt x="9" y="601"/>
                  </a:lnTo>
                  <a:lnTo>
                    <a:pt x="12" y="602"/>
                  </a:lnTo>
                  <a:lnTo>
                    <a:pt x="15" y="602"/>
                  </a:lnTo>
                  <a:lnTo>
                    <a:pt x="437" y="602"/>
                  </a:lnTo>
                  <a:lnTo>
                    <a:pt x="437" y="701"/>
                  </a:lnTo>
                  <a:lnTo>
                    <a:pt x="260" y="877"/>
                  </a:lnTo>
                  <a:lnTo>
                    <a:pt x="259" y="879"/>
                  </a:lnTo>
                  <a:lnTo>
                    <a:pt x="257" y="883"/>
                  </a:lnTo>
                  <a:lnTo>
                    <a:pt x="256" y="885"/>
                  </a:lnTo>
                  <a:lnTo>
                    <a:pt x="256" y="888"/>
                  </a:lnTo>
                  <a:lnTo>
                    <a:pt x="256" y="891"/>
                  </a:lnTo>
                  <a:lnTo>
                    <a:pt x="257" y="893"/>
                  </a:lnTo>
                  <a:lnTo>
                    <a:pt x="259" y="897"/>
                  </a:lnTo>
                  <a:lnTo>
                    <a:pt x="260" y="899"/>
                  </a:lnTo>
                  <a:lnTo>
                    <a:pt x="263" y="901"/>
                  </a:lnTo>
                  <a:lnTo>
                    <a:pt x="265" y="902"/>
                  </a:lnTo>
                  <a:lnTo>
                    <a:pt x="268" y="903"/>
                  </a:lnTo>
                  <a:lnTo>
                    <a:pt x="271" y="903"/>
                  </a:lnTo>
                  <a:lnTo>
                    <a:pt x="274" y="903"/>
                  </a:lnTo>
                  <a:lnTo>
                    <a:pt x="277" y="902"/>
                  </a:lnTo>
                  <a:lnTo>
                    <a:pt x="279" y="901"/>
                  </a:lnTo>
                  <a:lnTo>
                    <a:pt x="281" y="899"/>
                  </a:lnTo>
                  <a:lnTo>
                    <a:pt x="452" y="728"/>
                  </a:lnTo>
                  <a:lnTo>
                    <a:pt x="621" y="899"/>
                  </a:lnTo>
                  <a:lnTo>
                    <a:pt x="623" y="901"/>
                  </a:lnTo>
                  <a:lnTo>
                    <a:pt x="627" y="902"/>
                  </a:lnTo>
                  <a:lnTo>
                    <a:pt x="629" y="903"/>
                  </a:lnTo>
                  <a:lnTo>
                    <a:pt x="632" y="903"/>
                  </a:lnTo>
                  <a:lnTo>
                    <a:pt x="635" y="903"/>
                  </a:lnTo>
                  <a:lnTo>
                    <a:pt x="637" y="902"/>
                  </a:lnTo>
                  <a:lnTo>
                    <a:pt x="641" y="901"/>
                  </a:lnTo>
                  <a:lnTo>
                    <a:pt x="643" y="899"/>
                  </a:lnTo>
                  <a:lnTo>
                    <a:pt x="645" y="897"/>
                  </a:lnTo>
                  <a:lnTo>
                    <a:pt x="646" y="893"/>
                  </a:lnTo>
                  <a:lnTo>
                    <a:pt x="647" y="891"/>
                  </a:lnTo>
                  <a:lnTo>
                    <a:pt x="647" y="888"/>
                  </a:lnTo>
                  <a:lnTo>
                    <a:pt x="647" y="885"/>
                  </a:lnTo>
                  <a:lnTo>
                    <a:pt x="646" y="883"/>
                  </a:lnTo>
                  <a:lnTo>
                    <a:pt x="645" y="879"/>
                  </a:lnTo>
                  <a:lnTo>
                    <a:pt x="643" y="877"/>
                  </a:lnTo>
                  <a:lnTo>
                    <a:pt x="467" y="701"/>
                  </a:lnTo>
                  <a:lnTo>
                    <a:pt x="467" y="602"/>
                  </a:lnTo>
                  <a:lnTo>
                    <a:pt x="888" y="602"/>
                  </a:lnTo>
                  <a:lnTo>
                    <a:pt x="892" y="602"/>
                  </a:lnTo>
                  <a:lnTo>
                    <a:pt x="894" y="601"/>
                  </a:lnTo>
                  <a:lnTo>
                    <a:pt x="897" y="599"/>
                  </a:lnTo>
                  <a:lnTo>
                    <a:pt x="899" y="597"/>
                  </a:lnTo>
                  <a:lnTo>
                    <a:pt x="900" y="595"/>
                  </a:lnTo>
                  <a:lnTo>
                    <a:pt x="902" y="593"/>
                  </a:lnTo>
                  <a:lnTo>
                    <a:pt x="902" y="590"/>
                  </a:lnTo>
                  <a:lnTo>
                    <a:pt x="903" y="587"/>
                  </a:lnTo>
                  <a:lnTo>
                    <a:pt x="903" y="15"/>
                  </a:lnTo>
                  <a:lnTo>
                    <a:pt x="902" y="12"/>
                  </a:lnTo>
                  <a:lnTo>
                    <a:pt x="902" y="8"/>
                  </a:lnTo>
                  <a:lnTo>
                    <a:pt x="900" y="6"/>
                  </a:lnTo>
                  <a:lnTo>
                    <a:pt x="899" y="4"/>
                  </a:lnTo>
                  <a:lnTo>
                    <a:pt x="897" y="2"/>
                  </a:lnTo>
                  <a:lnTo>
                    <a:pt x="894" y="1"/>
                  </a:lnTo>
                  <a:lnTo>
                    <a:pt x="892" y="0"/>
                  </a:lnTo>
                  <a:lnTo>
                    <a:pt x="88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566"/>
            <p:cNvSpPr>
              <a:spLocks/>
            </p:cNvSpPr>
            <p:nvPr/>
          </p:nvSpPr>
          <p:spPr bwMode="auto">
            <a:xfrm>
              <a:off x="2054225" y="4843463"/>
              <a:ext cx="200025" cy="73025"/>
            </a:xfrm>
            <a:custGeom>
              <a:avLst/>
              <a:gdLst>
                <a:gd name="T0" fmla="*/ 151 w 632"/>
                <a:gd name="T1" fmla="*/ 151 h 226"/>
                <a:gd name="T2" fmla="*/ 157 w 632"/>
                <a:gd name="T3" fmla="*/ 149 h 226"/>
                <a:gd name="T4" fmla="*/ 161 w 632"/>
                <a:gd name="T5" fmla="*/ 146 h 226"/>
                <a:gd name="T6" fmla="*/ 288 w 632"/>
                <a:gd name="T7" fmla="*/ 217 h 226"/>
                <a:gd name="T8" fmla="*/ 292 w 632"/>
                <a:gd name="T9" fmla="*/ 223 h 226"/>
                <a:gd name="T10" fmla="*/ 299 w 632"/>
                <a:gd name="T11" fmla="*/ 226 h 226"/>
                <a:gd name="T12" fmla="*/ 302 w 632"/>
                <a:gd name="T13" fmla="*/ 226 h 226"/>
                <a:gd name="T14" fmla="*/ 307 w 632"/>
                <a:gd name="T15" fmla="*/ 225 h 226"/>
                <a:gd name="T16" fmla="*/ 313 w 632"/>
                <a:gd name="T17" fmla="*/ 222 h 226"/>
                <a:gd name="T18" fmla="*/ 471 w 632"/>
                <a:gd name="T19" fmla="*/ 191 h 226"/>
                <a:gd name="T20" fmla="*/ 477 w 632"/>
                <a:gd name="T21" fmla="*/ 195 h 226"/>
                <a:gd name="T22" fmla="*/ 483 w 632"/>
                <a:gd name="T23" fmla="*/ 196 h 226"/>
                <a:gd name="T24" fmla="*/ 488 w 632"/>
                <a:gd name="T25" fmla="*/ 194 h 226"/>
                <a:gd name="T26" fmla="*/ 494 w 632"/>
                <a:gd name="T27" fmla="*/ 191 h 226"/>
                <a:gd name="T28" fmla="*/ 631 w 632"/>
                <a:gd name="T29" fmla="*/ 23 h 226"/>
                <a:gd name="T30" fmla="*/ 632 w 632"/>
                <a:gd name="T31" fmla="*/ 16 h 226"/>
                <a:gd name="T32" fmla="*/ 632 w 632"/>
                <a:gd name="T33" fmla="*/ 11 h 226"/>
                <a:gd name="T34" fmla="*/ 629 w 632"/>
                <a:gd name="T35" fmla="*/ 5 h 226"/>
                <a:gd name="T36" fmla="*/ 625 w 632"/>
                <a:gd name="T37" fmla="*/ 2 h 226"/>
                <a:gd name="T38" fmla="*/ 619 w 632"/>
                <a:gd name="T39" fmla="*/ 0 h 226"/>
                <a:gd name="T40" fmla="*/ 613 w 632"/>
                <a:gd name="T41" fmla="*/ 1 h 226"/>
                <a:gd name="T42" fmla="*/ 607 w 632"/>
                <a:gd name="T43" fmla="*/ 3 h 226"/>
                <a:gd name="T44" fmla="*/ 481 w 632"/>
                <a:gd name="T45" fmla="*/ 159 h 226"/>
                <a:gd name="T46" fmla="*/ 415 w 632"/>
                <a:gd name="T47" fmla="*/ 93 h 226"/>
                <a:gd name="T48" fmla="*/ 409 w 632"/>
                <a:gd name="T49" fmla="*/ 91 h 226"/>
                <a:gd name="T50" fmla="*/ 404 w 632"/>
                <a:gd name="T51" fmla="*/ 91 h 226"/>
                <a:gd name="T52" fmla="*/ 398 w 632"/>
                <a:gd name="T53" fmla="*/ 93 h 226"/>
                <a:gd name="T54" fmla="*/ 307 w 632"/>
                <a:gd name="T55" fmla="*/ 185 h 226"/>
                <a:gd name="T56" fmla="*/ 247 w 632"/>
                <a:gd name="T57" fmla="*/ 39 h 226"/>
                <a:gd name="T58" fmla="*/ 242 w 632"/>
                <a:gd name="T59" fmla="*/ 34 h 226"/>
                <a:gd name="T60" fmla="*/ 234 w 632"/>
                <a:gd name="T61" fmla="*/ 33 h 226"/>
                <a:gd name="T62" fmla="*/ 227 w 632"/>
                <a:gd name="T63" fmla="*/ 35 h 226"/>
                <a:gd name="T64" fmla="*/ 144 w 632"/>
                <a:gd name="T65" fmla="*/ 121 h 226"/>
                <a:gd name="T66" fmla="*/ 12 w 632"/>
                <a:gd name="T67" fmla="*/ 121 h 226"/>
                <a:gd name="T68" fmla="*/ 7 w 632"/>
                <a:gd name="T69" fmla="*/ 123 h 226"/>
                <a:gd name="T70" fmla="*/ 3 w 632"/>
                <a:gd name="T71" fmla="*/ 128 h 226"/>
                <a:gd name="T72" fmla="*/ 0 w 632"/>
                <a:gd name="T73" fmla="*/ 133 h 226"/>
                <a:gd name="T74" fmla="*/ 0 w 632"/>
                <a:gd name="T75" fmla="*/ 138 h 226"/>
                <a:gd name="T76" fmla="*/ 3 w 632"/>
                <a:gd name="T77" fmla="*/ 144 h 226"/>
                <a:gd name="T78" fmla="*/ 7 w 632"/>
                <a:gd name="T79" fmla="*/ 148 h 226"/>
                <a:gd name="T80" fmla="*/ 12 w 632"/>
                <a:gd name="T81" fmla="*/ 150 h 226"/>
                <a:gd name="T82" fmla="*/ 15 w 632"/>
                <a:gd name="T83" fmla="*/ 15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32" h="226">
                  <a:moveTo>
                    <a:pt x="15" y="151"/>
                  </a:moveTo>
                  <a:lnTo>
                    <a:pt x="151" y="151"/>
                  </a:lnTo>
                  <a:lnTo>
                    <a:pt x="154" y="150"/>
                  </a:lnTo>
                  <a:lnTo>
                    <a:pt x="157" y="149"/>
                  </a:lnTo>
                  <a:lnTo>
                    <a:pt x="159" y="148"/>
                  </a:lnTo>
                  <a:lnTo>
                    <a:pt x="161" y="146"/>
                  </a:lnTo>
                  <a:lnTo>
                    <a:pt x="230" y="75"/>
                  </a:lnTo>
                  <a:lnTo>
                    <a:pt x="288" y="217"/>
                  </a:lnTo>
                  <a:lnTo>
                    <a:pt x="289" y="220"/>
                  </a:lnTo>
                  <a:lnTo>
                    <a:pt x="292" y="223"/>
                  </a:lnTo>
                  <a:lnTo>
                    <a:pt x="294" y="224"/>
                  </a:lnTo>
                  <a:lnTo>
                    <a:pt x="299" y="226"/>
                  </a:lnTo>
                  <a:lnTo>
                    <a:pt x="300" y="226"/>
                  </a:lnTo>
                  <a:lnTo>
                    <a:pt x="302" y="226"/>
                  </a:lnTo>
                  <a:lnTo>
                    <a:pt x="304" y="226"/>
                  </a:lnTo>
                  <a:lnTo>
                    <a:pt x="307" y="225"/>
                  </a:lnTo>
                  <a:lnTo>
                    <a:pt x="309" y="223"/>
                  </a:lnTo>
                  <a:lnTo>
                    <a:pt x="313" y="222"/>
                  </a:lnTo>
                  <a:lnTo>
                    <a:pt x="407" y="127"/>
                  </a:lnTo>
                  <a:lnTo>
                    <a:pt x="471" y="191"/>
                  </a:lnTo>
                  <a:lnTo>
                    <a:pt x="473" y="193"/>
                  </a:lnTo>
                  <a:lnTo>
                    <a:pt x="477" y="195"/>
                  </a:lnTo>
                  <a:lnTo>
                    <a:pt x="480" y="196"/>
                  </a:lnTo>
                  <a:lnTo>
                    <a:pt x="483" y="196"/>
                  </a:lnTo>
                  <a:lnTo>
                    <a:pt x="486" y="195"/>
                  </a:lnTo>
                  <a:lnTo>
                    <a:pt x="488" y="194"/>
                  </a:lnTo>
                  <a:lnTo>
                    <a:pt x="492" y="193"/>
                  </a:lnTo>
                  <a:lnTo>
                    <a:pt x="494" y="191"/>
                  </a:lnTo>
                  <a:lnTo>
                    <a:pt x="629" y="25"/>
                  </a:lnTo>
                  <a:lnTo>
                    <a:pt x="631" y="23"/>
                  </a:lnTo>
                  <a:lnTo>
                    <a:pt x="632" y="19"/>
                  </a:lnTo>
                  <a:lnTo>
                    <a:pt x="632" y="16"/>
                  </a:lnTo>
                  <a:lnTo>
                    <a:pt x="632" y="14"/>
                  </a:lnTo>
                  <a:lnTo>
                    <a:pt x="632" y="11"/>
                  </a:lnTo>
                  <a:lnTo>
                    <a:pt x="631" y="9"/>
                  </a:lnTo>
                  <a:lnTo>
                    <a:pt x="629" y="5"/>
                  </a:lnTo>
                  <a:lnTo>
                    <a:pt x="627" y="3"/>
                  </a:lnTo>
                  <a:lnTo>
                    <a:pt x="625" y="2"/>
                  </a:lnTo>
                  <a:lnTo>
                    <a:pt x="621" y="1"/>
                  </a:lnTo>
                  <a:lnTo>
                    <a:pt x="619" y="0"/>
                  </a:lnTo>
                  <a:lnTo>
                    <a:pt x="616" y="0"/>
                  </a:lnTo>
                  <a:lnTo>
                    <a:pt x="613" y="1"/>
                  </a:lnTo>
                  <a:lnTo>
                    <a:pt x="611" y="2"/>
                  </a:lnTo>
                  <a:lnTo>
                    <a:pt x="607" y="3"/>
                  </a:lnTo>
                  <a:lnTo>
                    <a:pt x="605" y="5"/>
                  </a:lnTo>
                  <a:lnTo>
                    <a:pt x="481" y="159"/>
                  </a:lnTo>
                  <a:lnTo>
                    <a:pt x="418" y="95"/>
                  </a:lnTo>
                  <a:lnTo>
                    <a:pt x="415" y="93"/>
                  </a:lnTo>
                  <a:lnTo>
                    <a:pt x="412" y="91"/>
                  </a:lnTo>
                  <a:lnTo>
                    <a:pt x="409" y="91"/>
                  </a:lnTo>
                  <a:lnTo>
                    <a:pt x="407" y="90"/>
                  </a:lnTo>
                  <a:lnTo>
                    <a:pt x="404" y="91"/>
                  </a:lnTo>
                  <a:lnTo>
                    <a:pt x="400" y="91"/>
                  </a:lnTo>
                  <a:lnTo>
                    <a:pt x="398" y="93"/>
                  </a:lnTo>
                  <a:lnTo>
                    <a:pt x="396" y="95"/>
                  </a:lnTo>
                  <a:lnTo>
                    <a:pt x="307" y="185"/>
                  </a:lnTo>
                  <a:lnTo>
                    <a:pt x="249" y="42"/>
                  </a:lnTo>
                  <a:lnTo>
                    <a:pt x="247" y="39"/>
                  </a:lnTo>
                  <a:lnTo>
                    <a:pt x="244" y="36"/>
                  </a:lnTo>
                  <a:lnTo>
                    <a:pt x="242" y="34"/>
                  </a:lnTo>
                  <a:lnTo>
                    <a:pt x="237" y="33"/>
                  </a:lnTo>
                  <a:lnTo>
                    <a:pt x="234" y="33"/>
                  </a:lnTo>
                  <a:lnTo>
                    <a:pt x="230" y="33"/>
                  </a:lnTo>
                  <a:lnTo>
                    <a:pt x="227" y="35"/>
                  </a:lnTo>
                  <a:lnTo>
                    <a:pt x="224" y="38"/>
                  </a:lnTo>
                  <a:lnTo>
                    <a:pt x="144" y="121"/>
                  </a:lnTo>
                  <a:lnTo>
                    <a:pt x="15" y="121"/>
                  </a:lnTo>
                  <a:lnTo>
                    <a:pt x="12" y="121"/>
                  </a:lnTo>
                  <a:lnTo>
                    <a:pt x="9" y="122"/>
                  </a:lnTo>
                  <a:lnTo>
                    <a:pt x="7" y="123"/>
                  </a:lnTo>
                  <a:lnTo>
                    <a:pt x="5" y="126"/>
                  </a:lnTo>
                  <a:lnTo>
                    <a:pt x="3" y="128"/>
                  </a:lnTo>
                  <a:lnTo>
                    <a:pt x="2" y="130"/>
                  </a:lnTo>
                  <a:lnTo>
                    <a:pt x="0" y="133"/>
                  </a:lnTo>
                  <a:lnTo>
                    <a:pt x="0" y="136"/>
                  </a:lnTo>
                  <a:lnTo>
                    <a:pt x="0" y="138"/>
                  </a:lnTo>
                  <a:lnTo>
                    <a:pt x="2" y="142"/>
                  </a:lnTo>
                  <a:lnTo>
                    <a:pt x="3" y="144"/>
                  </a:lnTo>
                  <a:lnTo>
                    <a:pt x="5" y="146"/>
                  </a:lnTo>
                  <a:lnTo>
                    <a:pt x="7" y="148"/>
                  </a:lnTo>
                  <a:lnTo>
                    <a:pt x="9" y="150"/>
                  </a:lnTo>
                  <a:lnTo>
                    <a:pt x="12" y="150"/>
                  </a:lnTo>
                  <a:lnTo>
                    <a:pt x="15" y="151"/>
                  </a:lnTo>
                  <a:lnTo>
                    <a:pt x="15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2" name="Group 141"/>
          <p:cNvGrpSpPr/>
          <p:nvPr/>
        </p:nvGrpSpPr>
        <p:grpSpPr>
          <a:xfrm>
            <a:off x="5851052" y="2486837"/>
            <a:ext cx="285750" cy="225425"/>
            <a:chOff x="9883775" y="5410200"/>
            <a:chExt cx="285750" cy="225425"/>
          </a:xfrm>
          <a:solidFill>
            <a:srgbClr val="125680"/>
          </a:solidFill>
          <a:effectLst/>
        </p:grpSpPr>
        <p:sp>
          <p:nvSpPr>
            <p:cNvPr id="143" name="Freeform 3677"/>
            <p:cNvSpPr>
              <a:spLocks/>
            </p:cNvSpPr>
            <p:nvPr/>
          </p:nvSpPr>
          <p:spPr bwMode="auto">
            <a:xfrm>
              <a:off x="10052050" y="5445125"/>
              <a:ext cx="117475" cy="190500"/>
            </a:xfrm>
            <a:custGeom>
              <a:avLst/>
              <a:gdLst>
                <a:gd name="T0" fmla="*/ 201 w 296"/>
                <a:gd name="T1" fmla="*/ 285 h 482"/>
                <a:gd name="T2" fmla="*/ 168 w 296"/>
                <a:gd name="T3" fmla="*/ 275 h 482"/>
                <a:gd name="T4" fmla="*/ 153 w 296"/>
                <a:gd name="T5" fmla="*/ 238 h 482"/>
                <a:gd name="T6" fmla="*/ 163 w 296"/>
                <a:gd name="T7" fmla="*/ 230 h 482"/>
                <a:gd name="T8" fmla="*/ 176 w 296"/>
                <a:gd name="T9" fmla="*/ 219 h 482"/>
                <a:gd name="T10" fmla="*/ 185 w 296"/>
                <a:gd name="T11" fmla="*/ 201 h 482"/>
                <a:gd name="T12" fmla="*/ 190 w 296"/>
                <a:gd name="T13" fmla="*/ 175 h 482"/>
                <a:gd name="T14" fmla="*/ 198 w 296"/>
                <a:gd name="T15" fmla="*/ 167 h 482"/>
                <a:gd name="T16" fmla="*/ 201 w 296"/>
                <a:gd name="T17" fmla="*/ 158 h 482"/>
                <a:gd name="T18" fmla="*/ 205 w 296"/>
                <a:gd name="T19" fmla="*/ 133 h 482"/>
                <a:gd name="T20" fmla="*/ 205 w 296"/>
                <a:gd name="T21" fmla="*/ 122 h 482"/>
                <a:gd name="T22" fmla="*/ 201 w 296"/>
                <a:gd name="T23" fmla="*/ 110 h 482"/>
                <a:gd name="T24" fmla="*/ 195 w 296"/>
                <a:gd name="T25" fmla="*/ 101 h 482"/>
                <a:gd name="T26" fmla="*/ 205 w 296"/>
                <a:gd name="T27" fmla="*/ 76 h 482"/>
                <a:gd name="T28" fmla="*/ 208 w 296"/>
                <a:gd name="T29" fmla="*/ 59 h 482"/>
                <a:gd name="T30" fmla="*/ 205 w 296"/>
                <a:gd name="T31" fmla="*/ 43 h 482"/>
                <a:gd name="T32" fmla="*/ 200 w 296"/>
                <a:gd name="T33" fmla="*/ 31 h 482"/>
                <a:gd name="T34" fmla="*/ 192 w 296"/>
                <a:gd name="T35" fmla="*/ 22 h 482"/>
                <a:gd name="T36" fmla="*/ 171 w 296"/>
                <a:gd name="T37" fmla="*/ 9 h 482"/>
                <a:gd name="T38" fmla="*/ 145 w 296"/>
                <a:gd name="T39" fmla="*/ 2 h 482"/>
                <a:gd name="T40" fmla="*/ 118 w 296"/>
                <a:gd name="T41" fmla="*/ 0 h 482"/>
                <a:gd name="T42" fmla="*/ 95 w 296"/>
                <a:gd name="T43" fmla="*/ 2 h 482"/>
                <a:gd name="T44" fmla="*/ 70 w 296"/>
                <a:gd name="T45" fmla="*/ 7 h 482"/>
                <a:gd name="T46" fmla="*/ 50 w 296"/>
                <a:gd name="T47" fmla="*/ 17 h 482"/>
                <a:gd name="T48" fmla="*/ 36 w 296"/>
                <a:gd name="T49" fmla="*/ 32 h 482"/>
                <a:gd name="T50" fmla="*/ 16 w 296"/>
                <a:gd name="T51" fmla="*/ 36 h 482"/>
                <a:gd name="T52" fmla="*/ 7 w 296"/>
                <a:gd name="T53" fmla="*/ 44 h 482"/>
                <a:gd name="T54" fmla="*/ 4 w 296"/>
                <a:gd name="T55" fmla="*/ 57 h 482"/>
                <a:gd name="T56" fmla="*/ 4 w 296"/>
                <a:gd name="T57" fmla="*/ 71 h 482"/>
                <a:gd name="T58" fmla="*/ 13 w 296"/>
                <a:gd name="T59" fmla="*/ 99 h 482"/>
                <a:gd name="T60" fmla="*/ 5 w 296"/>
                <a:gd name="T61" fmla="*/ 110 h 482"/>
                <a:gd name="T62" fmla="*/ 0 w 296"/>
                <a:gd name="T63" fmla="*/ 121 h 482"/>
                <a:gd name="T64" fmla="*/ 0 w 296"/>
                <a:gd name="T65" fmla="*/ 133 h 482"/>
                <a:gd name="T66" fmla="*/ 4 w 296"/>
                <a:gd name="T67" fmla="*/ 158 h 482"/>
                <a:gd name="T68" fmla="*/ 9 w 296"/>
                <a:gd name="T69" fmla="*/ 167 h 482"/>
                <a:gd name="T70" fmla="*/ 15 w 296"/>
                <a:gd name="T71" fmla="*/ 175 h 482"/>
                <a:gd name="T72" fmla="*/ 20 w 296"/>
                <a:gd name="T73" fmla="*/ 199 h 482"/>
                <a:gd name="T74" fmla="*/ 31 w 296"/>
                <a:gd name="T75" fmla="*/ 217 h 482"/>
                <a:gd name="T76" fmla="*/ 43 w 296"/>
                <a:gd name="T77" fmla="*/ 230 h 482"/>
                <a:gd name="T78" fmla="*/ 56 w 296"/>
                <a:gd name="T79" fmla="*/ 238 h 482"/>
                <a:gd name="T80" fmla="*/ 43 w 296"/>
                <a:gd name="T81" fmla="*/ 274 h 482"/>
                <a:gd name="T82" fmla="*/ 42 w 296"/>
                <a:gd name="T83" fmla="*/ 287 h 482"/>
                <a:gd name="T84" fmla="*/ 61 w 296"/>
                <a:gd name="T85" fmla="*/ 302 h 482"/>
                <a:gd name="T86" fmla="*/ 73 w 296"/>
                <a:gd name="T87" fmla="*/ 318 h 482"/>
                <a:gd name="T88" fmla="*/ 79 w 296"/>
                <a:gd name="T89" fmla="*/ 332 h 482"/>
                <a:gd name="T90" fmla="*/ 81 w 296"/>
                <a:gd name="T91" fmla="*/ 482 h 482"/>
                <a:gd name="T92" fmla="*/ 289 w 296"/>
                <a:gd name="T93" fmla="*/ 481 h 482"/>
                <a:gd name="T94" fmla="*/ 295 w 296"/>
                <a:gd name="T95" fmla="*/ 474 h 482"/>
                <a:gd name="T96" fmla="*/ 296 w 296"/>
                <a:gd name="T97" fmla="*/ 334 h 482"/>
                <a:gd name="T98" fmla="*/ 293 w 296"/>
                <a:gd name="T99" fmla="*/ 323 h 482"/>
                <a:gd name="T100" fmla="*/ 278 w 296"/>
                <a:gd name="T101" fmla="*/ 312 h 482"/>
                <a:gd name="T102" fmla="*/ 217 w 296"/>
                <a:gd name="T103" fmla="*/ 291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96" h="482">
                  <a:moveTo>
                    <a:pt x="217" y="291"/>
                  </a:moveTo>
                  <a:lnTo>
                    <a:pt x="201" y="285"/>
                  </a:lnTo>
                  <a:lnTo>
                    <a:pt x="185" y="280"/>
                  </a:lnTo>
                  <a:lnTo>
                    <a:pt x="168" y="275"/>
                  </a:lnTo>
                  <a:lnTo>
                    <a:pt x="153" y="270"/>
                  </a:lnTo>
                  <a:lnTo>
                    <a:pt x="153" y="238"/>
                  </a:lnTo>
                  <a:lnTo>
                    <a:pt x="158" y="235"/>
                  </a:lnTo>
                  <a:lnTo>
                    <a:pt x="163" y="230"/>
                  </a:lnTo>
                  <a:lnTo>
                    <a:pt x="169" y="225"/>
                  </a:lnTo>
                  <a:lnTo>
                    <a:pt x="176" y="219"/>
                  </a:lnTo>
                  <a:lnTo>
                    <a:pt x="181" y="210"/>
                  </a:lnTo>
                  <a:lnTo>
                    <a:pt x="185" y="201"/>
                  </a:lnTo>
                  <a:lnTo>
                    <a:pt x="189" y="189"/>
                  </a:lnTo>
                  <a:lnTo>
                    <a:pt x="190" y="175"/>
                  </a:lnTo>
                  <a:lnTo>
                    <a:pt x="194" y="172"/>
                  </a:lnTo>
                  <a:lnTo>
                    <a:pt x="198" y="167"/>
                  </a:lnTo>
                  <a:lnTo>
                    <a:pt x="200" y="163"/>
                  </a:lnTo>
                  <a:lnTo>
                    <a:pt x="201" y="158"/>
                  </a:lnTo>
                  <a:lnTo>
                    <a:pt x="205" y="145"/>
                  </a:lnTo>
                  <a:lnTo>
                    <a:pt x="205" y="133"/>
                  </a:lnTo>
                  <a:lnTo>
                    <a:pt x="205" y="127"/>
                  </a:lnTo>
                  <a:lnTo>
                    <a:pt x="205" y="122"/>
                  </a:lnTo>
                  <a:lnTo>
                    <a:pt x="204" y="116"/>
                  </a:lnTo>
                  <a:lnTo>
                    <a:pt x="201" y="110"/>
                  </a:lnTo>
                  <a:lnTo>
                    <a:pt x="198" y="104"/>
                  </a:lnTo>
                  <a:lnTo>
                    <a:pt x="195" y="101"/>
                  </a:lnTo>
                  <a:lnTo>
                    <a:pt x="200" y="90"/>
                  </a:lnTo>
                  <a:lnTo>
                    <a:pt x="205" y="76"/>
                  </a:lnTo>
                  <a:lnTo>
                    <a:pt x="208" y="67"/>
                  </a:lnTo>
                  <a:lnTo>
                    <a:pt x="208" y="59"/>
                  </a:lnTo>
                  <a:lnTo>
                    <a:pt x="208" y="50"/>
                  </a:lnTo>
                  <a:lnTo>
                    <a:pt x="205" y="43"/>
                  </a:lnTo>
                  <a:lnTo>
                    <a:pt x="203" y="36"/>
                  </a:lnTo>
                  <a:lnTo>
                    <a:pt x="200" y="31"/>
                  </a:lnTo>
                  <a:lnTo>
                    <a:pt x="196" y="26"/>
                  </a:lnTo>
                  <a:lnTo>
                    <a:pt x="192" y="22"/>
                  </a:lnTo>
                  <a:lnTo>
                    <a:pt x="182" y="14"/>
                  </a:lnTo>
                  <a:lnTo>
                    <a:pt x="171" y="9"/>
                  </a:lnTo>
                  <a:lnTo>
                    <a:pt x="158" y="5"/>
                  </a:lnTo>
                  <a:lnTo>
                    <a:pt x="145" y="2"/>
                  </a:lnTo>
                  <a:lnTo>
                    <a:pt x="131" y="0"/>
                  </a:lnTo>
                  <a:lnTo>
                    <a:pt x="118" y="0"/>
                  </a:lnTo>
                  <a:lnTo>
                    <a:pt x="106" y="0"/>
                  </a:lnTo>
                  <a:lnTo>
                    <a:pt x="95" y="2"/>
                  </a:lnTo>
                  <a:lnTo>
                    <a:pt x="82" y="4"/>
                  </a:lnTo>
                  <a:lnTo>
                    <a:pt x="70" y="7"/>
                  </a:lnTo>
                  <a:lnTo>
                    <a:pt x="60" y="12"/>
                  </a:lnTo>
                  <a:lnTo>
                    <a:pt x="50" y="17"/>
                  </a:lnTo>
                  <a:lnTo>
                    <a:pt x="42" y="25"/>
                  </a:lnTo>
                  <a:lnTo>
                    <a:pt x="36" y="32"/>
                  </a:lnTo>
                  <a:lnTo>
                    <a:pt x="24" y="34"/>
                  </a:lnTo>
                  <a:lnTo>
                    <a:pt x="16" y="36"/>
                  </a:lnTo>
                  <a:lnTo>
                    <a:pt x="11" y="40"/>
                  </a:lnTo>
                  <a:lnTo>
                    <a:pt x="7" y="44"/>
                  </a:lnTo>
                  <a:lnTo>
                    <a:pt x="5" y="50"/>
                  </a:lnTo>
                  <a:lnTo>
                    <a:pt x="4" y="57"/>
                  </a:lnTo>
                  <a:lnTo>
                    <a:pt x="2" y="65"/>
                  </a:lnTo>
                  <a:lnTo>
                    <a:pt x="4" y="71"/>
                  </a:lnTo>
                  <a:lnTo>
                    <a:pt x="7" y="86"/>
                  </a:lnTo>
                  <a:lnTo>
                    <a:pt x="13" y="99"/>
                  </a:lnTo>
                  <a:lnTo>
                    <a:pt x="7" y="104"/>
                  </a:lnTo>
                  <a:lnTo>
                    <a:pt x="5" y="110"/>
                  </a:lnTo>
                  <a:lnTo>
                    <a:pt x="2" y="115"/>
                  </a:lnTo>
                  <a:lnTo>
                    <a:pt x="0" y="121"/>
                  </a:lnTo>
                  <a:lnTo>
                    <a:pt x="0" y="127"/>
                  </a:lnTo>
                  <a:lnTo>
                    <a:pt x="0" y="133"/>
                  </a:lnTo>
                  <a:lnTo>
                    <a:pt x="1" y="145"/>
                  </a:lnTo>
                  <a:lnTo>
                    <a:pt x="4" y="158"/>
                  </a:lnTo>
                  <a:lnTo>
                    <a:pt x="6" y="163"/>
                  </a:lnTo>
                  <a:lnTo>
                    <a:pt x="9" y="167"/>
                  </a:lnTo>
                  <a:lnTo>
                    <a:pt x="11" y="172"/>
                  </a:lnTo>
                  <a:lnTo>
                    <a:pt x="15" y="175"/>
                  </a:lnTo>
                  <a:lnTo>
                    <a:pt x="18" y="188"/>
                  </a:lnTo>
                  <a:lnTo>
                    <a:pt x="20" y="199"/>
                  </a:lnTo>
                  <a:lnTo>
                    <a:pt x="25" y="208"/>
                  </a:lnTo>
                  <a:lnTo>
                    <a:pt x="31" y="217"/>
                  </a:lnTo>
                  <a:lnTo>
                    <a:pt x="37" y="224"/>
                  </a:lnTo>
                  <a:lnTo>
                    <a:pt x="43" y="230"/>
                  </a:lnTo>
                  <a:lnTo>
                    <a:pt x="50" y="234"/>
                  </a:lnTo>
                  <a:lnTo>
                    <a:pt x="56" y="238"/>
                  </a:lnTo>
                  <a:lnTo>
                    <a:pt x="56" y="270"/>
                  </a:lnTo>
                  <a:lnTo>
                    <a:pt x="43" y="274"/>
                  </a:lnTo>
                  <a:lnTo>
                    <a:pt x="31" y="279"/>
                  </a:lnTo>
                  <a:lnTo>
                    <a:pt x="42" y="287"/>
                  </a:lnTo>
                  <a:lnTo>
                    <a:pt x="52" y="294"/>
                  </a:lnTo>
                  <a:lnTo>
                    <a:pt x="61" y="302"/>
                  </a:lnTo>
                  <a:lnTo>
                    <a:pt x="68" y="310"/>
                  </a:lnTo>
                  <a:lnTo>
                    <a:pt x="73" y="318"/>
                  </a:lnTo>
                  <a:lnTo>
                    <a:pt x="77" y="324"/>
                  </a:lnTo>
                  <a:lnTo>
                    <a:pt x="79" y="332"/>
                  </a:lnTo>
                  <a:lnTo>
                    <a:pt x="81" y="338"/>
                  </a:lnTo>
                  <a:lnTo>
                    <a:pt x="81" y="482"/>
                  </a:lnTo>
                  <a:lnTo>
                    <a:pt x="285" y="482"/>
                  </a:lnTo>
                  <a:lnTo>
                    <a:pt x="289" y="481"/>
                  </a:lnTo>
                  <a:lnTo>
                    <a:pt x="293" y="478"/>
                  </a:lnTo>
                  <a:lnTo>
                    <a:pt x="295" y="474"/>
                  </a:lnTo>
                  <a:lnTo>
                    <a:pt x="296" y="470"/>
                  </a:lnTo>
                  <a:lnTo>
                    <a:pt x="296" y="334"/>
                  </a:lnTo>
                  <a:lnTo>
                    <a:pt x="295" y="328"/>
                  </a:lnTo>
                  <a:lnTo>
                    <a:pt x="293" y="323"/>
                  </a:lnTo>
                  <a:lnTo>
                    <a:pt x="286" y="318"/>
                  </a:lnTo>
                  <a:lnTo>
                    <a:pt x="278" y="312"/>
                  </a:lnTo>
                  <a:lnTo>
                    <a:pt x="253" y="302"/>
                  </a:lnTo>
                  <a:lnTo>
                    <a:pt x="217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3678"/>
            <p:cNvSpPr>
              <a:spLocks/>
            </p:cNvSpPr>
            <p:nvPr/>
          </p:nvSpPr>
          <p:spPr bwMode="auto">
            <a:xfrm>
              <a:off x="9883775" y="5410200"/>
              <a:ext cx="190500" cy="225425"/>
            </a:xfrm>
            <a:custGeom>
              <a:avLst/>
              <a:gdLst>
                <a:gd name="T0" fmla="*/ 421 w 480"/>
                <a:gd name="T1" fmla="*/ 374 h 569"/>
                <a:gd name="T2" fmla="*/ 339 w 480"/>
                <a:gd name="T3" fmla="*/ 333 h 569"/>
                <a:gd name="T4" fmla="*/ 312 w 480"/>
                <a:gd name="T5" fmla="*/ 276 h 569"/>
                <a:gd name="T6" fmla="*/ 316 w 480"/>
                <a:gd name="T7" fmla="*/ 272 h 569"/>
                <a:gd name="T8" fmla="*/ 339 w 480"/>
                <a:gd name="T9" fmla="*/ 226 h 569"/>
                <a:gd name="T10" fmla="*/ 340 w 480"/>
                <a:gd name="T11" fmla="*/ 214 h 569"/>
                <a:gd name="T12" fmla="*/ 345 w 480"/>
                <a:gd name="T13" fmla="*/ 199 h 569"/>
                <a:gd name="T14" fmla="*/ 353 w 480"/>
                <a:gd name="T15" fmla="*/ 190 h 569"/>
                <a:gd name="T16" fmla="*/ 360 w 480"/>
                <a:gd name="T17" fmla="*/ 176 h 569"/>
                <a:gd name="T18" fmla="*/ 361 w 480"/>
                <a:gd name="T19" fmla="*/ 168 h 569"/>
                <a:gd name="T20" fmla="*/ 361 w 480"/>
                <a:gd name="T21" fmla="*/ 159 h 569"/>
                <a:gd name="T22" fmla="*/ 356 w 480"/>
                <a:gd name="T23" fmla="*/ 135 h 569"/>
                <a:gd name="T24" fmla="*/ 347 w 480"/>
                <a:gd name="T25" fmla="*/ 126 h 569"/>
                <a:gd name="T26" fmla="*/ 356 w 480"/>
                <a:gd name="T27" fmla="*/ 100 h 569"/>
                <a:gd name="T28" fmla="*/ 358 w 480"/>
                <a:gd name="T29" fmla="*/ 85 h 569"/>
                <a:gd name="T30" fmla="*/ 358 w 480"/>
                <a:gd name="T31" fmla="*/ 71 h 569"/>
                <a:gd name="T32" fmla="*/ 357 w 480"/>
                <a:gd name="T33" fmla="*/ 54 h 569"/>
                <a:gd name="T34" fmla="*/ 353 w 480"/>
                <a:gd name="T35" fmla="*/ 44 h 569"/>
                <a:gd name="T36" fmla="*/ 349 w 480"/>
                <a:gd name="T37" fmla="*/ 37 h 569"/>
                <a:gd name="T38" fmla="*/ 340 w 480"/>
                <a:gd name="T39" fmla="*/ 27 h 569"/>
                <a:gd name="T40" fmla="*/ 329 w 480"/>
                <a:gd name="T41" fmla="*/ 18 h 569"/>
                <a:gd name="T42" fmla="*/ 298 w 480"/>
                <a:gd name="T43" fmla="*/ 5 h 569"/>
                <a:gd name="T44" fmla="*/ 270 w 480"/>
                <a:gd name="T45" fmla="*/ 0 h 569"/>
                <a:gd name="T46" fmla="*/ 254 w 480"/>
                <a:gd name="T47" fmla="*/ 0 h 569"/>
                <a:gd name="T48" fmla="*/ 235 w 480"/>
                <a:gd name="T49" fmla="*/ 0 h 569"/>
                <a:gd name="T50" fmla="*/ 218 w 480"/>
                <a:gd name="T51" fmla="*/ 3 h 569"/>
                <a:gd name="T52" fmla="*/ 205 w 480"/>
                <a:gd name="T53" fmla="*/ 6 h 569"/>
                <a:gd name="T54" fmla="*/ 194 w 480"/>
                <a:gd name="T55" fmla="*/ 10 h 569"/>
                <a:gd name="T56" fmla="*/ 158 w 480"/>
                <a:gd name="T57" fmla="*/ 39 h 569"/>
                <a:gd name="T58" fmla="*/ 155 w 480"/>
                <a:gd name="T59" fmla="*/ 44 h 569"/>
                <a:gd name="T60" fmla="*/ 141 w 480"/>
                <a:gd name="T61" fmla="*/ 45 h 569"/>
                <a:gd name="T62" fmla="*/ 133 w 480"/>
                <a:gd name="T63" fmla="*/ 48 h 569"/>
                <a:gd name="T64" fmla="*/ 127 w 480"/>
                <a:gd name="T65" fmla="*/ 51 h 569"/>
                <a:gd name="T66" fmla="*/ 123 w 480"/>
                <a:gd name="T67" fmla="*/ 57 h 569"/>
                <a:gd name="T68" fmla="*/ 119 w 480"/>
                <a:gd name="T69" fmla="*/ 66 h 569"/>
                <a:gd name="T70" fmla="*/ 118 w 480"/>
                <a:gd name="T71" fmla="*/ 73 h 569"/>
                <a:gd name="T72" fmla="*/ 118 w 480"/>
                <a:gd name="T73" fmla="*/ 82 h 569"/>
                <a:gd name="T74" fmla="*/ 121 w 480"/>
                <a:gd name="T75" fmla="*/ 91 h 569"/>
                <a:gd name="T76" fmla="*/ 122 w 480"/>
                <a:gd name="T77" fmla="*/ 100 h 569"/>
                <a:gd name="T78" fmla="*/ 126 w 480"/>
                <a:gd name="T79" fmla="*/ 108 h 569"/>
                <a:gd name="T80" fmla="*/ 132 w 480"/>
                <a:gd name="T81" fmla="*/ 125 h 569"/>
                <a:gd name="T82" fmla="*/ 118 w 480"/>
                <a:gd name="T83" fmla="*/ 145 h 569"/>
                <a:gd name="T84" fmla="*/ 117 w 480"/>
                <a:gd name="T85" fmla="*/ 166 h 569"/>
                <a:gd name="T86" fmla="*/ 118 w 480"/>
                <a:gd name="T87" fmla="*/ 171 h 569"/>
                <a:gd name="T88" fmla="*/ 119 w 480"/>
                <a:gd name="T89" fmla="*/ 177 h 569"/>
                <a:gd name="T90" fmla="*/ 132 w 480"/>
                <a:gd name="T91" fmla="*/ 199 h 569"/>
                <a:gd name="T92" fmla="*/ 136 w 480"/>
                <a:gd name="T93" fmla="*/ 202 h 569"/>
                <a:gd name="T94" fmla="*/ 137 w 480"/>
                <a:gd name="T95" fmla="*/ 220 h 569"/>
                <a:gd name="T96" fmla="*/ 151 w 480"/>
                <a:gd name="T97" fmla="*/ 258 h 569"/>
                <a:gd name="T98" fmla="*/ 168 w 480"/>
                <a:gd name="T99" fmla="*/ 312 h 569"/>
                <a:gd name="T100" fmla="*/ 86 w 480"/>
                <a:gd name="T101" fmla="*/ 358 h 569"/>
                <a:gd name="T102" fmla="*/ 18 w 480"/>
                <a:gd name="T103" fmla="*/ 401 h 569"/>
                <a:gd name="T104" fmla="*/ 0 w 480"/>
                <a:gd name="T105" fmla="*/ 421 h 569"/>
                <a:gd name="T106" fmla="*/ 2 w 480"/>
                <a:gd name="T107" fmla="*/ 565 h 569"/>
                <a:gd name="T108" fmla="*/ 469 w 480"/>
                <a:gd name="T109" fmla="*/ 569 h 569"/>
                <a:gd name="T110" fmla="*/ 479 w 480"/>
                <a:gd name="T111" fmla="*/ 421 h 569"/>
                <a:gd name="T112" fmla="*/ 449 w 480"/>
                <a:gd name="T113" fmla="*/ 390 h 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80" h="569">
                  <a:moveTo>
                    <a:pt x="425" y="375"/>
                  </a:moveTo>
                  <a:lnTo>
                    <a:pt x="425" y="375"/>
                  </a:lnTo>
                  <a:lnTo>
                    <a:pt x="424" y="375"/>
                  </a:lnTo>
                  <a:lnTo>
                    <a:pt x="421" y="374"/>
                  </a:lnTo>
                  <a:lnTo>
                    <a:pt x="419" y="372"/>
                  </a:lnTo>
                  <a:lnTo>
                    <a:pt x="393" y="358"/>
                  </a:lnTo>
                  <a:lnTo>
                    <a:pt x="366" y="345"/>
                  </a:lnTo>
                  <a:lnTo>
                    <a:pt x="339" y="333"/>
                  </a:lnTo>
                  <a:lnTo>
                    <a:pt x="312" y="321"/>
                  </a:lnTo>
                  <a:lnTo>
                    <a:pt x="312" y="312"/>
                  </a:lnTo>
                  <a:lnTo>
                    <a:pt x="312" y="281"/>
                  </a:lnTo>
                  <a:lnTo>
                    <a:pt x="312" y="276"/>
                  </a:lnTo>
                  <a:lnTo>
                    <a:pt x="313" y="275"/>
                  </a:lnTo>
                  <a:lnTo>
                    <a:pt x="316" y="272"/>
                  </a:lnTo>
                  <a:lnTo>
                    <a:pt x="316" y="272"/>
                  </a:lnTo>
                  <a:lnTo>
                    <a:pt x="316" y="272"/>
                  </a:lnTo>
                  <a:lnTo>
                    <a:pt x="322" y="266"/>
                  </a:lnTo>
                  <a:lnTo>
                    <a:pt x="329" y="256"/>
                  </a:lnTo>
                  <a:lnTo>
                    <a:pt x="334" y="243"/>
                  </a:lnTo>
                  <a:lnTo>
                    <a:pt x="339" y="226"/>
                  </a:lnTo>
                  <a:lnTo>
                    <a:pt x="339" y="223"/>
                  </a:lnTo>
                  <a:lnTo>
                    <a:pt x="340" y="220"/>
                  </a:lnTo>
                  <a:lnTo>
                    <a:pt x="340" y="217"/>
                  </a:lnTo>
                  <a:lnTo>
                    <a:pt x="340" y="214"/>
                  </a:lnTo>
                  <a:lnTo>
                    <a:pt x="342" y="208"/>
                  </a:lnTo>
                  <a:lnTo>
                    <a:pt x="342" y="202"/>
                  </a:lnTo>
                  <a:lnTo>
                    <a:pt x="344" y="202"/>
                  </a:lnTo>
                  <a:lnTo>
                    <a:pt x="345" y="199"/>
                  </a:lnTo>
                  <a:lnTo>
                    <a:pt x="345" y="199"/>
                  </a:lnTo>
                  <a:lnTo>
                    <a:pt x="345" y="199"/>
                  </a:lnTo>
                  <a:lnTo>
                    <a:pt x="349" y="195"/>
                  </a:lnTo>
                  <a:lnTo>
                    <a:pt x="353" y="190"/>
                  </a:lnTo>
                  <a:lnTo>
                    <a:pt x="357" y="184"/>
                  </a:lnTo>
                  <a:lnTo>
                    <a:pt x="358" y="177"/>
                  </a:lnTo>
                  <a:lnTo>
                    <a:pt x="358" y="176"/>
                  </a:lnTo>
                  <a:lnTo>
                    <a:pt x="360" y="176"/>
                  </a:lnTo>
                  <a:lnTo>
                    <a:pt x="360" y="173"/>
                  </a:lnTo>
                  <a:lnTo>
                    <a:pt x="360" y="171"/>
                  </a:lnTo>
                  <a:lnTo>
                    <a:pt x="361" y="170"/>
                  </a:lnTo>
                  <a:lnTo>
                    <a:pt x="361" y="168"/>
                  </a:lnTo>
                  <a:lnTo>
                    <a:pt x="361" y="167"/>
                  </a:lnTo>
                  <a:lnTo>
                    <a:pt x="361" y="164"/>
                  </a:lnTo>
                  <a:lnTo>
                    <a:pt x="361" y="162"/>
                  </a:lnTo>
                  <a:lnTo>
                    <a:pt x="361" y="159"/>
                  </a:lnTo>
                  <a:lnTo>
                    <a:pt x="361" y="152"/>
                  </a:lnTo>
                  <a:lnTo>
                    <a:pt x="360" y="145"/>
                  </a:lnTo>
                  <a:lnTo>
                    <a:pt x="358" y="140"/>
                  </a:lnTo>
                  <a:lnTo>
                    <a:pt x="356" y="135"/>
                  </a:lnTo>
                  <a:lnTo>
                    <a:pt x="356" y="135"/>
                  </a:lnTo>
                  <a:lnTo>
                    <a:pt x="356" y="135"/>
                  </a:lnTo>
                  <a:lnTo>
                    <a:pt x="351" y="130"/>
                  </a:lnTo>
                  <a:lnTo>
                    <a:pt x="347" y="126"/>
                  </a:lnTo>
                  <a:lnTo>
                    <a:pt x="348" y="122"/>
                  </a:lnTo>
                  <a:lnTo>
                    <a:pt x="349" y="117"/>
                  </a:lnTo>
                  <a:lnTo>
                    <a:pt x="353" y="109"/>
                  </a:lnTo>
                  <a:lnTo>
                    <a:pt x="356" y="100"/>
                  </a:lnTo>
                  <a:lnTo>
                    <a:pt x="356" y="100"/>
                  </a:lnTo>
                  <a:lnTo>
                    <a:pt x="356" y="100"/>
                  </a:lnTo>
                  <a:lnTo>
                    <a:pt x="357" y="92"/>
                  </a:lnTo>
                  <a:lnTo>
                    <a:pt x="358" y="85"/>
                  </a:lnTo>
                  <a:lnTo>
                    <a:pt x="358" y="85"/>
                  </a:lnTo>
                  <a:lnTo>
                    <a:pt x="358" y="85"/>
                  </a:lnTo>
                  <a:lnTo>
                    <a:pt x="358" y="77"/>
                  </a:lnTo>
                  <a:lnTo>
                    <a:pt x="358" y="71"/>
                  </a:lnTo>
                  <a:lnTo>
                    <a:pt x="358" y="69"/>
                  </a:lnTo>
                  <a:lnTo>
                    <a:pt x="358" y="68"/>
                  </a:lnTo>
                  <a:lnTo>
                    <a:pt x="358" y="60"/>
                  </a:lnTo>
                  <a:lnTo>
                    <a:pt x="357" y="54"/>
                  </a:lnTo>
                  <a:lnTo>
                    <a:pt x="356" y="51"/>
                  </a:lnTo>
                  <a:lnTo>
                    <a:pt x="354" y="48"/>
                  </a:lnTo>
                  <a:lnTo>
                    <a:pt x="353" y="46"/>
                  </a:lnTo>
                  <a:lnTo>
                    <a:pt x="353" y="44"/>
                  </a:lnTo>
                  <a:lnTo>
                    <a:pt x="352" y="42"/>
                  </a:lnTo>
                  <a:lnTo>
                    <a:pt x="352" y="42"/>
                  </a:lnTo>
                  <a:lnTo>
                    <a:pt x="351" y="40"/>
                  </a:lnTo>
                  <a:lnTo>
                    <a:pt x="349" y="37"/>
                  </a:lnTo>
                  <a:lnTo>
                    <a:pt x="349" y="37"/>
                  </a:lnTo>
                  <a:lnTo>
                    <a:pt x="349" y="37"/>
                  </a:lnTo>
                  <a:lnTo>
                    <a:pt x="344" y="32"/>
                  </a:lnTo>
                  <a:lnTo>
                    <a:pt x="340" y="27"/>
                  </a:lnTo>
                  <a:lnTo>
                    <a:pt x="335" y="22"/>
                  </a:lnTo>
                  <a:lnTo>
                    <a:pt x="329" y="18"/>
                  </a:lnTo>
                  <a:lnTo>
                    <a:pt x="329" y="18"/>
                  </a:lnTo>
                  <a:lnTo>
                    <a:pt x="329" y="18"/>
                  </a:lnTo>
                  <a:lnTo>
                    <a:pt x="326" y="17"/>
                  </a:lnTo>
                  <a:lnTo>
                    <a:pt x="324" y="15"/>
                  </a:lnTo>
                  <a:lnTo>
                    <a:pt x="311" y="9"/>
                  </a:lnTo>
                  <a:lnTo>
                    <a:pt x="298" y="5"/>
                  </a:lnTo>
                  <a:lnTo>
                    <a:pt x="284" y="3"/>
                  </a:lnTo>
                  <a:lnTo>
                    <a:pt x="270" y="0"/>
                  </a:lnTo>
                  <a:lnTo>
                    <a:pt x="270" y="0"/>
                  </a:lnTo>
                  <a:lnTo>
                    <a:pt x="270" y="0"/>
                  </a:lnTo>
                  <a:lnTo>
                    <a:pt x="266" y="0"/>
                  </a:lnTo>
                  <a:lnTo>
                    <a:pt x="262" y="0"/>
                  </a:lnTo>
                  <a:lnTo>
                    <a:pt x="258" y="0"/>
                  </a:lnTo>
                  <a:lnTo>
                    <a:pt x="254" y="0"/>
                  </a:lnTo>
                  <a:lnTo>
                    <a:pt x="247" y="0"/>
                  </a:lnTo>
                  <a:lnTo>
                    <a:pt x="239" y="0"/>
                  </a:lnTo>
                  <a:lnTo>
                    <a:pt x="238" y="0"/>
                  </a:lnTo>
                  <a:lnTo>
                    <a:pt x="235" y="0"/>
                  </a:lnTo>
                  <a:lnTo>
                    <a:pt x="231" y="1"/>
                  </a:lnTo>
                  <a:lnTo>
                    <a:pt x="226" y="1"/>
                  </a:lnTo>
                  <a:lnTo>
                    <a:pt x="222" y="3"/>
                  </a:lnTo>
                  <a:lnTo>
                    <a:pt x="218" y="3"/>
                  </a:lnTo>
                  <a:lnTo>
                    <a:pt x="216" y="4"/>
                  </a:lnTo>
                  <a:lnTo>
                    <a:pt x="214" y="4"/>
                  </a:lnTo>
                  <a:lnTo>
                    <a:pt x="209" y="5"/>
                  </a:lnTo>
                  <a:lnTo>
                    <a:pt x="205" y="6"/>
                  </a:lnTo>
                  <a:lnTo>
                    <a:pt x="200" y="8"/>
                  </a:lnTo>
                  <a:lnTo>
                    <a:pt x="196" y="9"/>
                  </a:lnTo>
                  <a:lnTo>
                    <a:pt x="195" y="10"/>
                  </a:lnTo>
                  <a:lnTo>
                    <a:pt x="194" y="10"/>
                  </a:lnTo>
                  <a:lnTo>
                    <a:pt x="184" y="15"/>
                  </a:lnTo>
                  <a:lnTo>
                    <a:pt x="173" y="23"/>
                  </a:lnTo>
                  <a:lnTo>
                    <a:pt x="166" y="30"/>
                  </a:lnTo>
                  <a:lnTo>
                    <a:pt x="158" y="39"/>
                  </a:lnTo>
                  <a:lnTo>
                    <a:pt x="158" y="39"/>
                  </a:lnTo>
                  <a:lnTo>
                    <a:pt x="158" y="39"/>
                  </a:lnTo>
                  <a:lnTo>
                    <a:pt x="157" y="41"/>
                  </a:lnTo>
                  <a:lnTo>
                    <a:pt x="155" y="44"/>
                  </a:lnTo>
                  <a:lnTo>
                    <a:pt x="151" y="44"/>
                  </a:lnTo>
                  <a:lnTo>
                    <a:pt x="148" y="44"/>
                  </a:lnTo>
                  <a:lnTo>
                    <a:pt x="144" y="44"/>
                  </a:lnTo>
                  <a:lnTo>
                    <a:pt x="141" y="45"/>
                  </a:lnTo>
                  <a:lnTo>
                    <a:pt x="140" y="45"/>
                  </a:lnTo>
                  <a:lnTo>
                    <a:pt x="139" y="45"/>
                  </a:lnTo>
                  <a:lnTo>
                    <a:pt x="136" y="46"/>
                  </a:lnTo>
                  <a:lnTo>
                    <a:pt x="133" y="48"/>
                  </a:lnTo>
                  <a:lnTo>
                    <a:pt x="132" y="49"/>
                  </a:lnTo>
                  <a:lnTo>
                    <a:pt x="131" y="49"/>
                  </a:lnTo>
                  <a:lnTo>
                    <a:pt x="128" y="50"/>
                  </a:lnTo>
                  <a:lnTo>
                    <a:pt x="127" y="51"/>
                  </a:lnTo>
                  <a:lnTo>
                    <a:pt x="127" y="53"/>
                  </a:lnTo>
                  <a:lnTo>
                    <a:pt x="126" y="53"/>
                  </a:lnTo>
                  <a:lnTo>
                    <a:pt x="125" y="54"/>
                  </a:lnTo>
                  <a:lnTo>
                    <a:pt x="123" y="57"/>
                  </a:lnTo>
                  <a:lnTo>
                    <a:pt x="121" y="60"/>
                  </a:lnTo>
                  <a:lnTo>
                    <a:pt x="119" y="63"/>
                  </a:lnTo>
                  <a:lnTo>
                    <a:pt x="119" y="64"/>
                  </a:lnTo>
                  <a:lnTo>
                    <a:pt x="119" y="66"/>
                  </a:lnTo>
                  <a:lnTo>
                    <a:pt x="119" y="68"/>
                  </a:lnTo>
                  <a:lnTo>
                    <a:pt x="118" y="72"/>
                  </a:lnTo>
                  <a:lnTo>
                    <a:pt x="118" y="72"/>
                  </a:lnTo>
                  <a:lnTo>
                    <a:pt x="118" y="73"/>
                  </a:lnTo>
                  <a:lnTo>
                    <a:pt x="118" y="77"/>
                  </a:lnTo>
                  <a:lnTo>
                    <a:pt x="118" y="80"/>
                  </a:lnTo>
                  <a:lnTo>
                    <a:pt x="118" y="81"/>
                  </a:lnTo>
                  <a:lnTo>
                    <a:pt x="118" y="82"/>
                  </a:lnTo>
                  <a:lnTo>
                    <a:pt x="119" y="86"/>
                  </a:lnTo>
                  <a:lnTo>
                    <a:pt x="119" y="89"/>
                  </a:lnTo>
                  <a:lnTo>
                    <a:pt x="119" y="90"/>
                  </a:lnTo>
                  <a:lnTo>
                    <a:pt x="121" y="91"/>
                  </a:lnTo>
                  <a:lnTo>
                    <a:pt x="121" y="95"/>
                  </a:lnTo>
                  <a:lnTo>
                    <a:pt x="122" y="99"/>
                  </a:lnTo>
                  <a:lnTo>
                    <a:pt x="122" y="99"/>
                  </a:lnTo>
                  <a:lnTo>
                    <a:pt x="122" y="100"/>
                  </a:lnTo>
                  <a:lnTo>
                    <a:pt x="123" y="104"/>
                  </a:lnTo>
                  <a:lnTo>
                    <a:pt x="126" y="108"/>
                  </a:lnTo>
                  <a:lnTo>
                    <a:pt x="126" y="108"/>
                  </a:lnTo>
                  <a:lnTo>
                    <a:pt x="126" y="108"/>
                  </a:lnTo>
                  <a:lnTo>
                    <a:pt x="128" y="117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27" y="128"/>
                  </a:lnTo>
                  <a:lnTo>
                    <a:pt x="123" y="135"/>
                  </a:lnTo>
                  <a:lnTo>
                    <a:pt x="121" y="140"/>
                  </a:lnTo>
                  <a:lnTo>
                    <a:pt x="118" y="145"/>
                  </a:lnTo>
                  <a:lnTo>
                    <a:pt x="117" y="152"/>
                  </a:lnTo>
                  <a:lnTo>
                    <a:pt x="117" y="159"/>
                  </a:lnTo>
                  <a:lnTo>
                    <a:pt x="117" y="162"/>
                  </a:lnTo>
                  <a:lnTo>
                    <a:pt x="117" y="166"/>
                  </a:lnTo>
                  <a:lnTo>
                    <a:pt x="117" y="167"/>
                  </a:lnTo>
                  <a:lnTo>
                    <a:pt x="117" y="170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8" y="175"/>
                  </a:lnTo>
                  <a:lnTo>
                    <a:pt x="119" y="177"/>
                  </a:lnTo>
                  <a:lnTo>
                    <a:pt x="119" y="177"/>
                  </a:lnTo>
                  <a:lnTo>
                    <a:pt x="119" y="177"/>
                  </a:lnTo>
                  <a:lnTo>
                    <a:pt x="121" y="184"/>
                  </a:lnTo>
                  <a:lnTo>
                    <a:pt x="125" y="190"/>
                  </a:lnTo>
                  <a:lnTo>
                    <a:pt x="128" y="195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3" y="202"/>
                  </a:lnTo>
                  <a:lnTo>
                    <a:pt x="136" y="202"/>
                  </a:lnTo>
                  <a:lnTo>
                    <a:pt x="136" y="209"/>
                  </a:lnTo>
                  <a:lnTo>
                    <a:pt x="137" y="216"/>
                  </a:lnTo>
                  <a:lnTo>
                    <a:pt x="137" y="217"/>
                  </a:lnTo>
                  <a:lnTo>
                    <a:pt x="137" y="220"/>
                  </a:lnTo>
                  <a:lnTo>
                    <a:pt x="140" y="231"/>
                  </a:lnTo>
                  <a:lnTo>
                    <a:pt x="144" y="241"/>
                  </a:lnTo>
                  <a:lnTo>
                    <a:pt x="146" y="250"/>
                  </a:lnTo>
                  <a:lnTo>
                    <a:pt x="151" y="258"/>
                  </a:lnTo>
                  <a:lnTo>
                    <a:pt x="159" y="268"/>
                  </a:lnTo>
                  <a:lnTo>
                    <a:pt x="168" y="276"/>
                  </a:lnTo>
                  <a:lnTo>
                    <a:pt x="168" y="281"/>
                  </a:lnTo>
                  <a:lnTo>
                    <a:pt x="168" y="312"/>
                  </a:lnTo>
                  <a:lnTo>
                    <a:pt x="168" y="321"/>
                  </a:lnTo>
                  <a:lnTo>
                    <a:pt x="141" y="333"/>
                  </a:lnTo>
                  <a:lnTo>
                    <a:pt x="113" y="345"/>
                  </a:lnTo>
                  <a:lnTo>
                    <a:pt x="86" y="358"/>
                  </a:lnTo>
                  <a:lnTo>
                    <a:pt x="62" y="372"/>
                  </a:lnTo>
                  <a:lnTo>
                    <a:pt x="46" y="381"/>
                  </a:lnTo>
                  <a:lnTo>
                    <a:pt x="33" y="389"/>
                  </a:lnTo>
                  <a:lnTo>
                    <a:pt x="18" y="401"/>
                  </a:lnTo>
                  <a:lnTo>
                    <a:pt x="8" y="410"/>
                  </a:lnTo>
                  <a:lnTo>
                    <a:pt x="4" y="415"/>
                  </a:lnTo>
                  <a:lnTo>
                    <a:pt x="1" y="419"/>
                  </a:lnTo>
                  <a:lnTo>
                    <a:pt x="0" y="421"/>
                  </a:lnTo>
                  <a:lnTo>
                    <a:pt x="0" y="425"/>
                  </a:lnTo>
                  <a:lnTo>
                    <a:pt x="0" y="557"/>
                  </a:lnTo>
                  <a:lnTo>
                    <a:pt x="0" y="561"/>
                  </a:lnTo>
                  <a:lnTo>
                    <a:pt x="2" y="565"/>
                  </a:lnTo>
                  <a:lnTo>
                    <a:pt x="6" y="568"/>
                  </a:lnTo>
                  <a:lnTo>
                    <a:pt x="11" y="569"/>
                  </a:lnTo>
                  <a:lnTo>
                    <a:pt x="348" y="569"/>
                  </a:lnTo>
                  <a:lnTo>
                    <a:pt x="469" y="569"/>
                  </a:lnTo>
                  <a:lnTo>
                    <a:pt x="480" y="569"/>
                  </a:lnTo>
                  <a:lnTo>
                    <a:pt x="480" y="557"/>
                  </a:lnTo>
                  <a:lnTo>
                    <a:pt x="480" y="425"/>
                  </a:lnTo>
                  <a:lnTo>
                    <a:pt x="479" y="421"/>
                  </a:lnTo>
                  <a:lnTo>
                    <a:pt x="476" y="416"/>
                  </a:lnTo>
                  <a:lnTo>
                    <a:pt x="473" y="411"/>
                  </a:lnTo>
                  <a:lnTo>
                    <a:pt x="466" y="405"/>
                  </a:lnTo>
                  <a:lnTo>
                    <a:pt x="449" y="390"/>
                  </a:lnTo>
                  <a:lnTo>
                    <a:pt x="425" y="3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5" name="Group 144"/>
          <p:cNvGrpSpPr/>
          <p:nvPr/>
        </p:nvGrpSpPr>
        <p:grpSpPr>
          <a:xfrm>
            <a:off x="3614363" y="2468580"/>
            <a:ext cx="284163" cy="261938"/>
            <a:chOff x="4313201" y="1920875"/>
            <a:chExt cx="284163" cy="261938"/>
          </a:xfrm>
          <a:solidFill>
            <a:srgbClr val="125680"/>
          </a:solidFill>
          <a:effectLst/>
        </p:grpSpPr>
        <p:sp>
          <p:nvSpPr>
            <p:cNvPr id="146" name="Freeform 3131"/>
            <p:cNvSpPr>
              <a:spLocks/>
            </p:cNvSpPr>
            <p:nvPr/>
          </p:nvSpPr>
          <p:spPr bwMode="auto">
            <a:xfrm>
              <a:off x="4313201" y="1920875"/>
              <a:ext cx="236538" cy="200025"/>
            </a:xfrm>
            <a:custGeom>
              <a:avLst/>
              <a:gdLst>
                <a:gd name="T0" fmla="*/ 599 w 599"/>
                <a:gd name="T1" fmla="*/ 12 h 503"/>
                <a:gd name="T2" fmla="*/ 599 w 599"/>
                <a:gd name="T3" fmla="*/ 7 h 503"/>
                <a:gd name="T4" fmla="*/ 595 w 599"/>
                <a:gd name="T5" fmla="*/ 3 h 503"/>
                <a:gd name="T6" fmla="*/ 592 w 599"/>
                <a:gd name="T7" fmla="*/ 1 h 503"/>
                <a:gd name="T8" fmla="*/ 587 w 599"/>
                <a:gd name="T9" fmla="*/ 0 h 503"/>
                <a:gd name="T10" fmla="*/ 12 w 599"/>
                <a:gd name="T11" fmla="*/ 0 h 503"/>
                <a:gd name="T12" fmla="*/ 8 w 599"/>
                <a:gd name="T13" fmla="*/ 1 h 503"/>
                <a:gd name="T14" fmla="*/ 4 w 599"/>
                <a:gd name="T15" fmla="*/ 3 h 503"/>
                <a:gd name="T16" fmla="*/ 2 w 599"/>
                <a:gd name="T17" fmla="*/ 7 h 503"/>
                <a:gd name="T18" fmla="*/ 0 w 599"/>
                <a:gd name="T19" fmla="*/ 12 h 503"/>
                <a:gd name="T20" fmla="*/ 0 w 599"/>
                <a:gd name="T21" fmla="*/ 371 h 503"/>
                <a:gd name="T22" fmla="*/ 2 w 599"/>
                <a:gd name="T23" fmla="*/ 376 h 503"/>
                <a:gd name="T24" fmla="*/ 4 w 599"/>
                <a:gd name="T25" fmla="*/ 379 h 503"/>
                <a:gd name="T26" fmla="*/ 8 w 599"/>
                <a:gd name="T27" fmla="*/ 382 h 503"/>
                <a:gd name="T28" fmla="*/ 12 w 599"/>
                <a:gd name="T29" fmla="*/ 383 h 503"/>
                <a:gd name="T30" fmla="*/ 96 w 599"/>
                <a:gd name="T31" fmla="*/ 383 h 503"/>
                <a:gd name="T32" fmla="*/ 96 w 599"/>
                <a:gd name="T33" fmla="*/ 490 h 503"/>
                <a:gd name="T34" fmla="*/ 97 w 599"/>
                <a:gd name="T35" fmla="*/ 493 h 503"/>
                <a:gd name="T36" fmla="*/ 98 w 599"/>
                <a:gd name="T37" fmla="*/ 497 h 503"/>
                <a:gd name="T38" fmla="*/ 100 w 599"/>
                <a:gd name="T39" fmla="*/ 499 h 503"/>
                <a:gd name="T40" fmla="*/ 104 w 599"/>
                <a:gd name="T41" fmla="*/ 502 h 503"/>
                <a:gd name="T42" fmla="*/ 106 w 599"/>
                <a:gd name="T43" fmla="*/ 502 h 503"/>
                <a:gd name="T44" fmla="*/ 109 w 599"/>
                <a:gd name="T45" fmla="*/ 503 h 503"/>
                <a:gd name="T46" fmla="*/ 112 w 599"/>
                <a:gd name="T47" fmla="*/ 502 h 503"/>
                <a:gd name="T48" fmla="*/ 117 w 599"/>
                <a:gd name="T49" fmla="*/ 499 h 503"/>
                <a:gd name="T50" fmla="*/ 232 w 599"/>
                <a:gd name="T51" fmla="*/ 383 h 503"/>
                <a:gd name="T52" fmla="*/ 288 w 599"/>
                <a:gd name="T53" fmla="*/ 383 h 503"/>
                <a:gd name="T54" fmla="*/ 288 w 599"/>
                <a:gd name="T55" fmla="*/ 251 h 503"/>
                <a:gd name="T56" fmla="*/ 288 w 599"/>
                <a:gd name="T57" fmla="*/ 246 h 503"/>
                <a:gd name="T58" fmla="*/ 291 w 599"/>
                <a:gd name="T59" fmla="*/ 242 h 503"/>
                <a:gd name="T60" fmla="*/ 295 w 599"/>
                <a:gd name="T61" fmla="*/ 240 h 503"/>
                <a:gd name="T62" fmla="*/ 300 w 599"/>
                <a:gd name="T63" fmla="*/ 239 h 503"/>
                <a:gd name="T64" fmla="*/ 599 w 599"/>
                <a:gd name="T65" fmla="*/ 239 h 503"/>
                <a:gd name="T66" fmla="*/ 599 w 599"/>
                <a:gd name="T67" fmla="*/ 1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9" h="503">
                  <a:moveTo>
                    <a:pt x="599" y="12"/>
                  </a:moveTo>
                  <a:lnTo>
                    <a:pt x="599" y="7"/>
                  </a:lnTo>
                  <a:lnTo>
                    <a:pt x="595" y="3"/>
                  </a:lnTo>
                  <a:lnTo>
                    <a:pt x="592" y="1"/>
                  </a:lnTo>
                  <a:lnTo>
                    <a:pt x="587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2" y="7"/>
                  </a:lnTo>
                  <a:lnTo>
                    <a:pt x="0" y="12"/>
                  </a:lnTo>
                  <a:lnTo>
                    <a:pt x="0" y="371"/>
                  </a:lnTo>
                  <a:lnTo>
                    <a:pt x="2" y="376"/>
                  </a:lnTo>
                  <a:lnTo>
                    <a:pt x="4" y="379"/>
                  </a:lnTo>
                  <a:lnTo>
                    <a:pt x="8" y="382"/>
                  </a:lnTo>
                  <a:lnTo>
                    <a:pt x="12" y="383"/>
                  </a:lnTo>
                  <a:lnTo>
                    <a:pt x="96" y="383"/>
                  </a:lnTo>
                  <a:lnTo>
                    <a:pt x="96" y="490"/>
                  </a:lnTo>
                  <a:lnTo>
                    <a:pt x="97" y="493"/>
                  </a:lnTo>
                  <a:lnTo>
                    <a:pt x="98" y="497"/>
                  </a:lnTo>
                  <a:lnTo>
                    <a:pt x="100" y="499"/>
                  </a:lnTo>
                  <a:lnTo>
                    <a:pt x="104" y="502"/>
                  </a:lnTo>
                  <a:lnTo>
                    <a:pt x="106" y="502"/>
                  </a:lnTo>
                  <a:lnTo>
                    <a:pt x="109" y="503"/>
                  </a:lnTo>
                  <a:lnTo>
                    <a:pt x="112" y="502"/>
                  </a:lnTo>
                  <a:lnTo>
                    <a:pt x="117" y="499"/>
                  </a:lnTo>
                  <a:lnTo>
                    <a:pt x="232" y="383"/>
                  </a:lnTo>
                  <a:lnTo>
                    <a:pt x="288" y="383"/>
                  </a:lnTo>
                  <a:lnTo>
                    <a:pt x="288" y="251"/>
                  </a:lnTo>
                  <a:lnTo>
                    <a:pt x="288" y="246"/>
                  </a:lnTo>
                  <a:lnTo>
                    <a:pt x="291" y="242"/>
                  </a:lnTo>
                  <a:lnTo>
                    <a:pt x="295" y="240"/>
                  </a:lnTo>
                  <a:lnTo>
                    <a:pt x="300" y="239"/>
                  </a:lnTo>
                  <a:lnTo>
                    <a:pt x="599" y="239"/>
                  </a:lnTo>
                  <a:lnTo>
                    <a:pt x="599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3132"/>
            <p:cNvSpPr>
              <a:spLocks/>
            </p:cNvSpPr>
            <p:nvPr/>
          </p:nvSpPr>
          <p:spPr bwMode="auto">
            <a:xfrm>
              <a:off x="4437026" y="2025650"/>
              <a:ext cx="160338" cy="157163"/>
            </a:xfrm>
            <a:custGeom>
              <a:avLst/>
              <a:gdLst>
                <a:gd name="T0" fmla="*/ 395 w 407"/>
                <a:gd name="T1" fmla="*/ 0 h 394"/>
                <a:gd name="T2" fmla="*/ 12 w 407"/>
                <a:gd name="T3" fmla="*/ 0 h 394"/>
                <a:gd name="T4" fmla="*/ 0 w 407"/>
                <a:gd name="T5" fmla="*/ 0 h 394"/>
                <a:gd name="T6" fmla="*/ 0 w 407"/>
                <a:gd name="T7" fmla="*/ 11 h 394"/>
                <a:gd name="T8" fmla="*/ 0 w 407"/>
                <a:gd name="T9" fmla="*/ 252 h 394"/>
                <a:gd name="T10" fmla="*/ 0 w 407"/>
                <a:gd name="T11" fmla="*/ 255 h 394"/>
                <a:gd name="T12" fmla="*/ 4 w 407"/>
                <a:gd name="T13" fmla="*/ 260 h 394"/>
                <a:gd name="T14" fmla="*/ 7 w 407"/>
                <a:gd name="T15" fmla="*/ 262 h 394"/>
                <a:gd name="T16" fmla="*/ 12 w 407"/>
                <a:gd name="T17" fmla="*/ 264 h 394"/>
                <a:gd name="T18" fmla="*/ 193 w 407"/>
                <a:gd name="T19" fmla="*/ 264 h 394"/>
                <a:gd name="T20" fmla="*/ 198 w 407"/>
                <a:gd name="T21" fmla="*/ 264 h 394"/>
                <a:gd name="T22" fmla="*/ 314 w 407"/>
                <a:gd name="T23" fmla="*/ 391 h 394"/>
                <a:gd name="T24" fmla="*/ 319 w 407"/>
                <a:gd name="T25" fmla="*/ 394 h 394"/>
                <a:gd name="T26" fmla="*/ 324 w 407"/>
                <a:gd name="T27" fmla="*/ 394 h 394"/>
                <a:gd name="T28" fmla="*/ 325 w 407"/>
                <a:gd name="T29" fmla="*/ 394 h 394"/>
                <a:gd name="T30" fmla="*/ 327 w 407"/>
                <a:gd name="T31" fmla="*/ 394 h 394"/>
                <a:gd name="T32" fmla="*/ 331 w 407"/>
                <a:gd name="T33" fmla="*/ 392 h 394"/>
                <a:gd name="T34" fmla="*/ 333 w 407"/>
                <a:gd name="T35" fmla="*/ 390 h 394"/>
                <a:gd name="T36" fmla="*/ 334 w 407"/>
                <a:gd name="T37" fmla="*/ 386 h 394"/>
                <a:gd name="T38" fmla="*/ 336 w 407"/>
                <a:gd name="T39" fmla="*/ 383 h 394"/>
                <a:gd name="T40" fmla="*/ 336 w 407"/>
                <a:gd name="T41" fmla="*/ 276 h 394"/>
                <a:gd name="T42" fmla="*/ 336 w 407"/>
                <a:gd name="T43" fmla="*/ 264 h 394"/>
                <a:gd name="T44" fmla="*/ 347 w 407"/>
                <a:gd name="T45" fmla="*/ 264 h 394"/>
                <a:gd name="T46" fmla="*/ 395 w 407"/>
                <a:gd name="T47" fmla="*/ 264 h 394"/>
                <a:gd name="T48" fmla="*/ 400 w 407"/>
                <a:gd name="T49" fmla="*/ 262 h 394"/>
                <a:gd name="T50" fmla="*/ 403 w 407"/>
                <a:gd name="T51" fmla="*/ 260 h 394"/>
                <a:gd name="T52" fmla="*/ 406 w 407"/>
                <a:gd name="T53" fmla="*/ 257 h 394"/>
                <a:gd name="T54" fmla="*/ 407 w 407"/>
                <a:gd name="T55" fmla="*/ 252 h 394"/>
                <a:gd name="T56" fmla="*/ 407 w 407"/>
                <a:gd name="T57" fmla="*/ 11 h 394"/>
                <a:gd name="T58" fmla="*/ 406 w 407"/>
                <a:gd name="T59" fmla="*/ 7 h 394"/>
                <a:gd name="T60" fmla="*/ 403 w 407"/>
                <a:gd name="T61" fmla="*/ 3 h 394"/>
                <a:gd name="T62" fmla="*/ 400 w 407"/>
                <a:gd name="T63" fmla="*/ 1 h 394"/>
                <a:gd name="T64" fmla="*/ 395 w 407"/>
                <a:gd name="T65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7" h="394">
                  <a:moveTo>
                    <a:pt x="395" y="0"/>
                  </a:moveTo>
                  <a:lnTo>
                    <a:pt x="12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0" y="252"/>
                  </a:lnTo>
                  <a:lnTo>
                    <a:pt x="0" y="255"/>
                  </a:lnTo>
                  <a:lnTo>
                    <a:pt x="4" y="260"/>
                  </a:lnTo>
                  <a:lnTo>
                    <a:pt x="7" y="262"/>
                  </a:lnTo>
                  <a:lnTo>
                    <a:pt x="12" y="264"/>
                  </a:lnTo>
                  <a:lnTo>
                    <a:pt x="193" y="264"/>
                  </a:lnTo>
                  <a:lnTo>
                    <a:pt x="198" y="264"/>
                  </a:lnTo>
                  <a:lnTo>
                    <a:pt x="314" y="391"/>
                  </a:lnTo>
                  <a:lnTo>
                    <a:pt x="319" y="394"/>
                  </a:lnTo>
                  <a:lnTo>
                    <a:pt x="324" y="394"/>
                  </a:lnTo>
                  <a:lnTo>
                    <a:pt x="325" y="394"/>
                  </a:lnTo>
                  <a:lnTo>
                    <a:pt x="327" y="394"/>
                  </a:lnTo>
                  <a:lnTo>
                    <a:pt x="331" y="392"/>
                  </a:lnTo>
                  <a:lnTo>
                    <a:pt x="333" y="390"/>
                  </a:lnTo>
                  <a:lnTo>
                    <a:pt x="334" y="386"/>
                  </a:lnTo>
                  <a:lnTo>
                    <a:pt x="336" y="383"/>
                  </a:lnTo>
                  <a:lnTo>
                    <a:pt x="336" y="276"/>
                  </a:lnTo>
                  <a:lnTo>
                    <a:pt x="336" y="264"/>
                  </a:lnTo>
                  <a:lnTo>
                    <a:pt x="347" y="264"/>
                  </a:lnTo>
                  <a:lnTo>
                    <a:pt x="395" y="264"/>
                  </a:lnTo>
                  <a:lnTo>
                    <a:pt x="400" y="262"/>
                  </a:lnTo>
                  <a:lnTo>
                    <a:pt x="403" y="260"/>
                  </a:lnTo>
                  <a:lnTo>
                    <a:pt x="406" y="257"/>
                  </a:lnTo>
                  <a:lnTo>
                    <a:pt x="407" y="252"/>
                  </a:lnTo>
                  <a:lnTo>
                    <a:pt x="407" y="11"/>
                  </a:lnTo>
                  <a:lnTo>
                    <a:pt x="406" y="7"/>
                  </a:lnTo>
                  <a:lnTo>
                    <a:pt x="403" y="3"/>
                  </a:lnTo>
                  <a:lnTo>
                    <a:pt x="400" y="1"/>
                  </a:lnTo>
                  <a:lnTo>
                    <a:pt x="39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8" name="Group 147"/>
          <p:cNvGrpSpPr/>
          <p:nvPr/>
        </p:nvGrpSpPr>
        <p:grpSpPr>
          <a:xfrm>
            <a:off x="1418949" y="2455880"/>
            <a:ext cx="200025" cy="287338"/>
            <a:chOff x="10502900" y="815975"/>
            <a:chExt cx="200025" cy="287338"/>
          </a:xfrm>
          <a:solidFill>
            <a:srgbClr val="125680"/>
          </a:solidFill>
          <a:effectLst/>
        </p:grpSpPr>
        <p:sp>
          <p:nvSpPr>
            <p:cNvPr id="149" name="Freeform 2127"/>
            <p:cNvSpPr>
              <a:spLocks/>
            </p:cNvSpPr>
            <p:nvPr/>
          </p:nvSpPr>
          <p:spPr bwMode="auto">
            <a:xfrm>
              <a:off x="10502900" y="815975"/>
              <a:ext cx="200025" cy="201613"/>
            </a:xfrm>
            <a:custGeom>
              <a:avLst/>
              <a:gdLst>
                <a:gd name="T0" fmla="*/ 284 w 632"/>
                <a:gd name="T1" fmla="*/ 3 h 632"/>
                <a:gd name="T2" fmla="*/ 237 w 632"/>
                <a:gd name="T3" fmla="*/ 10 h 632"/>
                <a:gd name="T4" fmla="*/ 193 w 632"/>
                <a:gd name="T5" fmla="*/ 26 h 632"/>
                <a:gd name="T6" fmla="*/ 152 w 632"/>
                <a:gd name="T7" fmla="*/ 47 h 632"/>
                <a:gd name="T8" fmla="*/ 115 w 632"/>
                <a:gd name="T9" fmla="*/ 72 h 632"/>
                <a:gd name="T10" fmla="*/ 82 w 632"/>
                <a:gd name="T11" fmla="*/ 104 h 632"/>
                <a:gd name="T12" fmla="*/ 54 w 632"/>
                <a:gd name="T13" fmla="*/ 139 h 632"/>
                <a:gd name="T14" fmla="*/ 31 w 632"/>
                <a:gd name="T15" fmla="*/ 180 h 632"/>
                <a:gd name="T16" fmla="*/ 14 w 632"/>
                <a:gd name="T17" fmla="*/ 222 h 632"/>
                <a:gd name="T18" fmla="*/ 4 w 632"/>
                <a:gd name="T19" fmla="*/ 269 h 632"/>
                <a:gd name="T20" fmla="*/ 0 w 632"/>
                <a:gd name="T21" fmla="*/ 316 h 632"/>
                <a:gd name="T22" fmla="*/ 3 w 632"/>
                <a:gd name="T23" fmla="*/ 363 h 632"/>
                <a:gd name="T24" fmla="*/ 14 w 632"/>
                <a:gd name="T25" fmla="*/ 407 h 632"/>
                <a:gd name="T26" fmla="*/ 30 w 632"/>
                <a:gd name="T27" fmla="*/ 450 h 632"/>
                <a:gd name="T28" fmla="*/ 50 w 632"/>
                <a:gd name="T29" fmla="*/ 489 h 632"/>
                <a:gd name="T30" fmla="*/ 77 w 632"/>
                <a:gd name="T31" fmla="*/ 523 h 632"/>
                <a:gd name="T32" fmla="*/ 109 w 632"/>
                <a:gd name="T33" fmla="*/ 555 h 632"/>
                <a:gd name="T34" fmla="*/ 144 w 632"/>
                <a:gd name="T35" fmla="*/ 581 h 632"/>
                <a:gd name="T36" fmla="*/ 183 w 632"/>
                <a:gd name="T37" fmla="*/ 602 h 632"/>
                <a:gd name="T38" fmla="*/ 225 w 632"/>
                <a:gd name="T39" fmla="*/ 618 h 632"/>
                <a:gd name="T40" fmla="*/ 270 w 632"/>
                <a:gd name="T41" fmla="*/ 628 h 632"/>
                <a:gd name="T42" fmla="*/ 301 w 632"/>
                <a:gd name="T43" fmla="*/ 473 h 632"/>
                <a:gd name="T44" fmla="*/ 256 w 632"/>
                <a:gd name="T45" fmla="*/ 512 h 632"/>
                <a:gd name="T46" fmla="*/ 185 w 632"/>
                <a:gd name="T47" fmla="*/ 447 h 632"/>
                <a:gd name="T48" fmla="*/ 181 w 632"/>
                <a:gd name="T49" fmla="*/ 431 h 632"/>
                <a:gd name="T50" fmla="*/ 196 w 632"/>
                <a:gd name="T51" fmla="*/ 421 h 632"/>
                <a:gd name="T52" fmla="*/ 256 w 632"/>
                <a:gd name="T53" fmla="*/ 475 h 632"/>
                <a:gd name="T54" fmla="*/ 309 w 632"/>
                <a:gd name="T55" fmla="*/ 423 h 632"/>
                <a:gd name="T56" fmla="*/ 319 w 632"/>
                <a:gd name="T57" fmla="*/ 421 h 632"/>
                <a:gd name="T58" fmla="*/ 326 w 632"/>
                <a:gd name="T59" fmla="*/ 426 h 632"/>
                <a:gd name="T60" fmla="*/ 430 w 632"/>
                <a:gd name="T61" fmla="*/ 423 h 632"/>
                <a:gd name="T62" fmla="*/ 446 w 632"/>
                <a:gd name="T63" fmla="*/ 426 h 632"/>
                <a:gd name="T64" fmla="*/ 450 w 632"/>
                <a:gd name="T65" fmla="*/ 442 h 632"/>
                <a:gd name="T66" fmla="*/ 381 w 632"/>
                <a:gd name="T67" fmla="*/ 511 h 632"/>
                <a:gd name="T68" fmla="*/ 365 w 632"/>
                <a:gd name="T69" fmla="*/ 507 h 632"/>
                <a:gd name="T70" fmla="*/ 346 w 632"/>
                <a:gd name="T71" fmla="*/ 630 h 632"/>
                <a:gd name="T72" fmla="*/ 391 w 632"/>
                <a:gd name="T73" fmla="*/ 623 h 632"/>
                <a:gd name="T74" fmla="*/ 434 w 632"/>
                <a:gd name="T75" fmla="*/ 608 h 632"/>
                <a:gd name="T76" fmla="*/ 474 w 632"/>
                <a:gd name="T77" fmla="*/ 589 h 632"/>
                <a:gd name="T78" fmla="*/ 511 w 632"/>
                <a:gd name="T79" fmla="*/ 564 h 632"/>
                <a:gd name="T80" fmla="*/ 544 w 632"/>
                <a:gd name="T81" fmla="*/ 534 h 632"/>
                <a:gd name="T82" fmla="*/ 572 w 632"/>
                <a:gd name="T83" fmla="*/ 501 h 632"/>
                <a:gd name="T84" fmla="*/ 595 w 632"/>
                <a:gd name="T85" fmla="*/ 463 h 632"/>
                <a:gd name="T86" fmla="*/ 613 w 632"/>
                <a:gd name="T87" fmla="*/ 421 h 632"/>
                <a:gd name="T88" fmla="*/ 626 w 632"/>
                <a:gd name="T89" fmla="*/ 378 h 632"/>
                <a:gd name="T90" fmla="*/ 631 w 632"/>
                <a:gd name="T91" fmla="*/ 332 h 632"/>
                <a:gd name="T92" fmla="*/ 629 w 632"/>
                <a:gd name="T93" fmla="*/ 283 h 632"/>
                <a:gd name="T94" fmla="*/ 622 w 632"/>
                <a:gd name="T95" fmla="*/ 237 h 632"/>
                <a:gd name="T96" fmla="*/ 606 w 632"/>
                <a:gd name="T97" fmla="*/ 193 h 632"/>
                <a:gd name="T98" fmla="*/ 585 w 632"/>
                <a:gd name="T99" fmla="*/ 153 h 632"/>
                <a:gd name="T100" fmla="*/ 560 w 632"/>
                <a:gd name="T101" fmla="*/ 115 h 632"/>
                <a:gd name="T102" fmla="*/ 528 w 632"/>
                <a:gd name="T103" fmla="*/ 82 h 632"/>
                <a:gd name="T104" fmla="*/ 492 w 632"/>
                <a:gd name="T105" fmla="*/ 54 h 632"/>
                <a:gd name="T106" fmla="*/ 452 w 632"/>
                <a:gd name="T107" fmla="*/ 32 h 632"/>
                <a:gd name="T108" fmla="*/ 409 w 632"/>
                <a:gd name="T109" fmla="*/ 15 h 632"/>
                <a:gd name="T110" fmla="*/ 364 w 632"/>
                <a:gd name="T111" fmla="*/ 4 h 632"/>
                <a:gd name="T112" fmla="*/ 315 w 632"/>
                <a:gd name="T113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32" h="632">
                  <a:moveTo>
                    <a:pt x="315" y="0"/>
                  </a:moveTo>
                  <a:lnTo>
                    <a:pt x="299" y="1"/>
                  </a:lnTo>
                  <a:lnTo>
                    <a:pt x="284" y="3"/>
                  </a:lnTo>
                  <a:lnTo>
                    <a:pt x="268" y="4"/>
                  </a:lnTo>
                  <a:lnTo>
                    <a:pt x="252" y="6"/>
                  </a:lnTo>
                  <a:lnTo>
                    <a:pt x="237" y="10"/>
                  </a:lnTo>
                  <a:lnTo>
                    <a:pt x="221" y="15"/>
                  </a:lnTo>
                  <a:lnTo>
                    <a:pt x="207" y="20"/>
                  </a:lnTo>
                  <a:lnTo>
                    <a:pt x="193" y="26"/>
                  </a:lnTo>
                  <a:lnTo>
                    <a:pt x="179" y="32"/>
                  </a:lnTo>
                  <a:lnTo>
                    <a:pt x="165" y="38"/>
                  </a:lnTo>
                  <a:lnTo>
                    <a:pt x="152" y="47"/>
                  </a:lnTo>
                  <a:lnTo>
                    <a:pt x="139" y="54"/>
                  </a:lnTo>
                  <a:lnTo>
                    <a:pt x="127" y="64"/>
                  </a:lnTo>
                  <a:lnTo>
                    <a:pt x="115" y="72"/>
                  </a:lnTo>
                  <a:lnTo>
                    <a:pt x="103" y="82"/>
                  </a:lnTo>
                  <a:lnTo>
                    <a:pt x="92" y="93"/>
                  </a:lnTo>
                  <a:lnTo>
                    <a:pt x="82" y="104"/>
                  </a:lnTo>
                  <a:lnTo>
                    <a:pt x="72" y="115"/>
                  </a:lnTo>
                  <a:lnTo>
                    <a:pt x="63" y="127"/>
                  </a:lnTo>
                  <a:lnTo>
                    <a:pt x="54" y="139"/>
                  </a:lnTo>
                  <a:lnTo>
                    <a:pt x="45" y="153"/>
                  </a:lnTo>
                  <a:lnTo>
                    <a:pt x="38" y="166"/>
                  </a:lnTo>
                  <a:lnTo>
                    <a:pt x="31" y="180"/>
                  </a:lnTo>
                  <a:lnTo>
                    <a:pt x="25" y="193"/>
                  </a:lnTo>
                  <a:lnTo>
                    <a:pt x="19" y="208"/>
                  </a:lnTo>
                  <a:lnTo>
                    <a:pt x="14" y="222"/>
                  </a:lnTo>
                  <a:lnTo>
                    <a:pt x="10" y="237"/>
                  </a:lnTo>
                  <a:lnTo>
                    <a:pt x="6" y="253"/>
                  </a:lnTo>
                  <a:lnTo>
                    <a:pt x="4" y="269"/>
                  </a:lnTo>
                  <a:lnTo>
                    <a:pt x="1" y="283"/>
                  </a:lnTo>
                  <a:lnTo>
                    <a:pt x="0" y="301"/>
                  </a:lnTo>
                  <a:lnTo>
                    <a:pt x="0" y="316"/>
                  </a:lnTo>
                  <a:lnTo>
                    <a:pt x="0" y="332"/>
                  </a:lnTo>
                  <a:lnTo>
                    <a:pt x="1" y="347"/>
                  </a:lnTo>
                  <a:lnTo>
                    <a:pt x="3" y="363"/>
                  </a:lnTo>
                  <a:lnTo>
                    <a:pt x="6" y="378"/>
                  </a:lnTo>
                  <a:lnTo>
                    <a:pt x="9" y="393"/>
                  </a:lnTo>
                  <a:lnTo>
                    <a:pt x="14" y="407"/>
                  </a:lnTo>
                  <a:lnTo>
                    <a:pt x="17" y="421"/>
                  </a:lnTo>
                  <a:lnTo>
                    <a:pt x="23" y="436"/>
                  </a:lnTo>
                  <a:lnTo>
                    <a:pt x="30" y="450"/>
                  </a:lnTo>
                  <a:lnTo>
                    <a:pt x="36" y="463"/>
                  </a:lnTo>
                  <a:lnTo>
                    <a:pt x="43" y="475"/>
                  </a:lnTo>
                  <a:lnTo>
                    <a:pt x="50" y="489"/>
                  </a:lnTo>
                  <a:lnTo>
                    <a:pt x="59" y="501"/>
                  </a:lnTo>
                  <a:lnTo>
                    <a:pt x="69" y="512"/>
                  </a:lnTo>
                  <a:lnTo>
                    <a:pt x="77" y="523"/>
                  </a:lnTo>
                  <a:lnTo>
                    <a:pt x="87" y="534"/>
                  </a:lnTo>
                  <a:lnTo>
                    <a:pt x="98" y="545"/>
                  </a:lnTo>
                  <a:lnTo>
                    <a:pt x="109" y="555"/>
                  </a:lnTo>
                  <a:lnTo>
                    <a:pt x="120" y="564"/>
                  </a:lnTo>
                  <a:lnTo>
                    <a:pt x="132" y="573"/>
                  </a:lnTo>
                  <a:lnTo>
                    <a:pt x="144" y="581"/>
                  </a:lnTo>
                  <a:lnTo>
                    <a:pt x="157" y="589"/>
                  </a:lnTo>
                  <a:lnTo>
                    <a:pt x="170" y="596"/>
                  </a:lnTo>
                  <a:lnTo>
                    <a:pt x="183" y="602"/>
                  </a:lnTo>
                  <a:lnTo>
                    <a:pt x="197" y="608"/>
                  </a:lnTo>
                  <a:lnTo>
                    <a:pt x="210" y="613"/>
                  </a:lnTo>
                  <a:lnTo>
                    <a:pt x="225" y="618"/>
                  </a:lnTo>
                  <a:lnTo>
                    <a:pt x="240" y="623"/>
                  </a:lnTo>
                  <a:lnTo>
                    <a:pt x="254" y="625"/>
                  </a:lnTo>
                  <a:lnTo>
                    <a:pt x="270" y="628"/>
                  </a:lnTo>
                  <a:lnTo>
                    <a:pt x="285" y="630"/>
                  </a:lnTo>
                  <a:lnTo>
                    <a:pt x="301" y="632"/>
                  </a:lnTo>
                  <a:lnTo>
                    <a:pt x="301" y="473"/>
                  </a:lnTo>
                  <a:lnTo>
                    <a:pt x="267" y="507"/>
                  </a:lnTo>
                  <a:lnTo>
                    <a:pt x="262" y="511"/>
                  </a:lnTo>
                  <a:lnTo>
                    <a:pt x="256" y="512"/>
                  </a:lnTo>
                  <a:lnTo>
                    <a:pt x="249" y="511"/>
                  </a:lnTo>
                  <a:lnTo>
                    <a:pt x="245" y="507"/>
                  </a:lnTo>
                  <a:lnTo>
                    <a:pt x="185" y="447"/>
                  </a:lnTo>
                  <a:lnTo>
                    <a:pt x="181" y="442"/>
                  </a:lnTo>
                  <a:lnTo>
                    <a:pt x="180" y="436"/>
                  </a:lnTo>
                  <a:lnTo>
                    <a:pt x="181" y="431"/>
                  </a:lnTo>
                  <a:lnTo>
                    <a:pt x="185" y="426"/>
                  </a:lnTo>
                  <a:lnTo>
                    <a:pt x="190" y="423"/>
                  </a:lnTo>
                  <a:lnTo>
                    <a:pt x="196" y="421"/>
                  </a:lnTo>
                  <a:lnTo>
                    <a:pt x="201" y="423"/>
                  </a:lnTo>
                  <a:lnTo>
                    <a:pt x="205" y="426"/>
                  </a:lnTo>
                  <a:lnTo>
                    <a:pt x="256" y="475"/>
                  </a:lnTo>
                  <a:lnTo>
                    <a:pt x="304" y="426"/>
                  </a:lnTo>
                  <a:lnTo>
                    <a:pt x="307" y="424"/>
                  </a:lnTo>
                  <a:lnTo>
                    <a:pt x="309" y="423"/>
                  </a:lnTo>
                  <a:lnTo>
                    <a:pt x="313" y="421"/>
                  </a:lnTo>
                  <a:lnTo>
                    <a:pt x="315" y="421"/>
                  </a:lnTo>
                  <a:lnTo>
                    <a:pt x="319" y="421"/>
                  </a:lnTo>
                  <a:lnTo>
                    <a:pt x="321" y="423"/>
                  </a:lnTo>
                  <a:lnTo>
                    <a:pt x="324" y="424"/>
                  </a:lnTo>
                  <a:lnTo>
                    <a:pt x="326" y="426"/>
                  </a:lnTo>
                  <a:lnTo>
                    <a:pt x="375" y="475"/>
                  </a:lnTo>
                  <a:lnTo>
                    <a:pt x="425" y="426"/>
                  </a:lnTo>
                  <a:lnTo>
                    <a:pt x="430" y="423"/>
                  </a:lnTo>
                  <a:lnTo>
                    <a:pt x="436" y="421"/>
                  </a:lnTo>
                  <a:lnTo>
                    <a:pt x="441" y="423"/>
                  </a:lnTo>
                  <a:lnTo>
                    <a:pt x="446" y="426"/>
                  </a:lnTo>
                  <a:lnTo>
                    <a:pt x="450" y="431"/>
                  </a:lnTo>
                  <a:lnTo>
                    <a:pt x="451" y="436"/>
                  </a:lnTo>
                  <a:lnTo>
                    <a:pt x="450" y="442"/>
                  </a:lnTo>
                  <a:lnTo>
                    <a:pt x="446" y="447"/>
                  </a:lnTo>
                  <a:lnTo>
                    <a:pt x="386" y="507"/>
                  </a:lnTo>
                  <a:lnTo>
                    <a:pt x="381" y="511"/>
                  </a:lnTo>
                  <a:lnTo>
                    <a:pt x="375" y="512"/>
                  </a:lnTo>
                  <a:lnTo>
                    <a:pt x="370" y="511"/>
                  </a:lnTo>
                  <a:lnTo>
                    <a:pt x="365" y="507"/>
                  </a:lnTo>
                  <a:lnTo>
                    <a:pt x="330" y="473"/>
                  </a:lnTo>
                  <a:lnTo>
                    <a:pt x="330" y="632"/>
                  </a:lnTo>
                  <a:lnTo>
                    <a:pt x="346" y="630"/>
                  </a:lnTo>
                  <a:lnTo>
                    <a:pt x="362" y="628"/>
                  </a:lnTo>
                  <a:lnTo>
                    <a:pt x="376" y="625"/>
                  </a:lnTo>
                  <a:lnTo>
                    <a:pt x="391" y="623"/>
                  </a:lnTo>
                  <a:lnTo>
                    <a:pt x="406" y="618"/>
                  </a:lnTo>
                  <a:lnTo>
                    <a:pt x="420" y="613"/>
                  </a:lnTo>
                  <a:lnTo>
                    <a:pt x="434" y="608"/>
                  </a:lnTo>
                  <a:lnTo>
                    <a:pt x="449" y="602"/>
                  </a:lnTo>
                  <a:lnTo>
                    <a:pt x="462" y="596"/>
                  </a:lnTo>
                  <a:lnTo>
                    <a:pt x="474" y="589"/>
                  </a:lnTo>
                  <a:lnTo>
                    <a:pt x="488" y="581"/>
                  </a:lnTo>
                  <a:lnTo>
                    <a:pt x="500" y="573"/>
                  </a:lnTo>
                  <a:lnTo>
                    <a:pt x="511" y="564"/>
                  </a:lnTo>
                  <a:lnTo>
                    <a:pt x="522" y="555"/>
                  </a:lnTo>
                  <a:lnTo>
                    <a:pt x="533" y="545"/>
                  </a:lnTo>
                  <a:lnTo>
                    <a:pt x="544" y="534"/>
                  </a:lnTo>
                  <a:lnTo>
                    <a:pt x="554" y="523"/>
                  </a:lnTo>
                  <a:lnTo>
                    <a:pt x="563" y="512"/>
                  </a:lnTo>
                  <a:lnTo>
                    <a:pt x="572" y="501"/>
                  </a:lnTo>
                  <a:lnTo>
                    <a:pt x="580" y="489"/>
                  </a:lnTo>
                  <a:lnTo>
                    <a:pt x="588" y="475"/>
                  </a:lnTo>
                  <a:lnTo>
                    <a:pt x="595" y="463"/>
                  </a:lnTo>
                  <a:lnTo>
                    <a:pt x="602" y="450"/>
                  </a:lnTo>
                  <a:lnTo>
                    <a:pt x="609" y="436"/>
                  </a:lnTo>
                  <a:lnTo>
                    <a:pt x="613" y="421"/>
                  </a:lnTo>
                  <a:lnTo>
                    <a:pt x="618" y="408"/>
                  </a:lnTo>
                  <a:lnTo>
                    <a:pt x="622" y="393"/>
                  </a:lnTo>
                  <a:lnTo>
                    <a:pt x="626" y="378"/>
                  </a:lnTo>
                  <a:lnTo>
                    <a:pt x="628" y="363"/>
                  </a:lnTo>
                  <a:lnTo>
                    <a:pt x="631" y="347"/>
                  </a:lnTo>
                  <a:lnTo>
                    <a:pt x="631" y="332"/>
                  </a:lnTo>
                  <a:lnTo>
                    <a:pt x="632" y="316"/>
                  </a:lnTo>
                  <a:lnTo>
                    <a:pt x="631" y="301"/>
                  </a:lnTo>
                  <a:lnTo>
                    <a:pt x="629" y="283"/>
                  </a:lnTo>
                  <a:lnTo>
                    <a:pt x="628" y="269"/>
                  </a:lnTo>
                  <a:lnTo>
                    <a:pt x="626" y="253"/>
                  </a:lnTo>
                  <a:lnTo>
                    <a:pt x="622" y="237"/>
                  </a:lnTo>
                  <a:lnTo>
                    <a:pt x="617" y="222"/>
                  </a:lnTo>
                  <a:lnTo>
                    <a:pt x="612" y="208"/>
                  </a:lnTo>
                  <a:lnTo>
                    <a:pt x="606" y="193"/>
                  </a:lnTo>
                  <a:lnTo>
                    <a:pt x="600" y="180"/>
                  </a:lnTo>
                  <a:lnTo>
                    <a:pt x="594" y="166"/>
                  </a:lnTo>
                  <a:lnTo>
                    <a:pt x="585" y="153"/>
                  </a:lnTo>
                  <a:lnTo>
                    <a:pt x="578" y="139"/>
                  </a:lnTo>
                  <a:lnTo>
                    <a:pt x="568" y="127"/>
                  </a:lnTo>
                  <a:lnTo>
                    <a:pt x="560" y="115"/>
                  </a:lnTo>
                  <a:lnTo>
                    <a:pt x="550" y="104"/>
                  </a:lnTo>
                  <a:lnTo>
                    <a:pt x="539" y="93"/>
                  </a:lnTo>
                  <a:lnTo>
                    <a:pt x="528" y="82"/>
                  </a:lnTo>
                  <a:lnTo>
                    <a:pt x="517" y="72"/>
                  </a:lnTo>
                  <a:lnTo>
                    <a:pt x="505" y="64"/>
                  </a:lnTo>
                  <a:lnTo>
                    <a:pt x="492" y="54"/>
                  </a:lnTo>
                  <a:lnTo>
                    <a:pt x="479" y="47"/>
                  </a:lnTo>
                  <a:lnTo>
                    <a:pt x="466" y="38"/>
                  </a:lnTo>
                  <a:lnTo>
                    <a:pt x="452" y="32"/>
                  </a:lnTo>
                  <a:lnTo>
                    <a:pt x="439" y="26"/>
                  </a:lnTo>
                  <a:lnTo>
                    <a:pt x="424" y="20"/>
                  </a:lnTo>
                  <a:lnTo>
                    <a:pt x="409" y="15"/>
                  </a:lnTo>
                  <a:lnTo>
                    <a:pt x="395" y="10"/>
                  </a:lnTo>
                  <a:lnTo>
                    <a:pt x="379" y="6"/>
                  </a:lnTo>
                  <a:lnTo>
                    <a:pt x="364" y="4"/>
                  </a:lnTo>
                  <a:lnTo>
                    <a:pt x="348" y="3"/>
                  </a:lnTo>
                  <a:lnTo>
                    <a:pt x="331" y="1"/>
                  </a:lnTo>
                  <a:lnTo>
                    <a:pt x="3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2128"/>
            <p:cNvSpPr>
              <a:spLocks/>
            </p:cNvSpPr>
            <p:nvPr/>
          </p:nvSpPr>
          <p:spPr bwMode="auto">
            <a:xfrm>
              <a:off x="10569575" y="1036638"/>
              <a:ext cx="66675" cy="9525"/>
            </a:xfrm>
            <a:custGeom>
              <a:avLst/>
              <a:gdLst>
                <a:gd name="T0" fmla="*/ 196 w 210"/>
                <a:gd name="T1" fmla="*/ 0 h 29"/>
                <a:gd name="T2" fmla="*/ 15 w 210"/>
                <a:gd name="T3" fmla="*/ 0 h 29"/>
                <a:gd name="T4" fmla="*/ 9 w 210"/>
                <a:gd name="T5" fmla="*/ 1 h 29"/>
                <a:gd name="T6" fmla="*/ 5 w 210"/>
                <a:gd name="T7" fmla="*/ 3 h 29"/>
                <a:gd name="T8" fmla="*/ 2 w 210"/>
                <a:gd name="T9" fmla="*/ 8 h 29"/>
                <a:gd name="T10" fmla="*/ 0 w 210"/>
                <a:gd name="T11" fmla="*/ 14 h 29"/>
                <a:gd name="T12" fmla="*/ 2 w 210"/>
                <a:gd name="T13" fmla="*/ 20 h 29"/>
                <a:gd name="T14" fmla="*/ 5 w 210"/>
                <a:gd name="T15" fmla="*/ 25 h 29"/>
                <a:gd name="T16" fmla="*/ 9 w 210"/>
                <a:gd name="T17" fmla="*/ 28 h 29"/>
                <a:gd name="T18" fmla="*/ 15 w 210"/>
                <a:gd name="T19" fmla="*/ 29 h 29"/>
                <a:gd name="T20" fmla="*/ 196 w 210"/>
                <a:gd name="T21" fmla="*/ 29 h 29"/>
                <a:gd name="T22" fmla="*/ 202 w 210"/>
                <a:gd name="T23" fmla="*/ 28 h 29"/>
                <a:gd name="T24" fmla="*/ 207 w 210"/>
                <a:gd name="T25" fmla="*/ 25 h 29"/>
                <a:gd name="T26" fmla="*/ 209 w 210"/>
                <a:gd name="T27" fmla="*/ 20 h 29"/>
                <a:gd name="T28" fmla="*/ 210 w 210"/>
                <a:gd name="T29" fmla="*/ 14 h 29"/>
                <a:gd name="T30" fmla="*/ 209 w 210"/>
                <a:gd name="T31" fmla="*/ 8 h 29"/>
                <a:gd name="T32" fmla="*/ 207 w 210"/>
                <a:gd name="T33" fmla="*/ 3 h 29"/>
                <a:gd name="T34" fmla="*/ 202 w 210"/>
                <a:gd name="T35" fmla="*/ 1 h 29"/>
                <a:gd name="T36" fmla="*/ 196 w 210"/>
                <a:gd name="T3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0" h="29">
                  <a:moveTo>
                    <a:pt x="196" y="0"/>
                  </a:moveTo>
                  <a:lnTo>
                    <a:pt x="15" y="0"/>
                  </a:lnTo>
                  <a:lnTo>
                    <a:pt x="9" y="1"/>
                  </a:lnTo>
                  <a:lnTo>
                    <a:pt x="5" y="3"/>
                  </a:lnTo>
                  <a:lnTo>
                    <a:pt x="2" y="8"/>
                  </a:lnTo>
                  <a:lnTo>
                    <a:pt x="0" y="14"/>
                  </a:lnTo>
                  <a:lnTo>
                    <a:pt x="2" y="20"/>
                  </a:lnTo>
                  <a:lnTo>
                    <a:pt x="5" y="25"/>
                  </a:lnTo>
                  <a:lnTo>
                    <a:pt x="9" y="28"/>
                  </a:lnTo>
                  <a:lnTo>
                    <a:pt x="15" y="29"/>
                  </a:lnTo>
                  <a:lnTo>
                    <a:pt x="196" y="29"/>
                  </a:lnTo>
                  <a:lnTo>
                    <a:pt x="202" y="28"/>
                  </a:lnTo>
                  <a:lnTo>
                    <a:pt x="207" y="25"/>
                  </a:lnTo>
                  <a:lnTo>
                    <a:pt x="209" y="20"/>
                  </a:lnTo>
                  <a:lnTo>
                    <a:pt x="210" y="14"/>
                  </a:lnTo>
                  <a:lnTo>
                    <a:pt x="209" y="8"/>
                  </a:lnTo>
                  <a:lnTo>
                    <a:pt x="207" y="3"/>
                  </a:lnTo>
                  <a:lnTo>
                    <a:pt x="202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2129"/>
            <p:cNvSpPr>
              <a:spLocks/>
            </p:cNvSpPr>
            <p:nvPr/>
          </p:nvSpPr>
          <p:spPr bwMode="auto">
            <a:xfrm>
              <a:off x="10569575" y="1055688"/>
              <a:ext cx="66675" cy="9525"/>
            </a:xfrm>
            <a:custGeom>
              <a:avLst/>
              <a:gdLst>
                <a:gd name="T0" fmla="*/ 196 w 210"/>
                <a:gd name="T1" fmla="*/ 0 h 31"/>
                <a:gd name="T2" fmla="*/ 15 w 210"/>
                <a:gd name="T3" fmla="*/ 0 h 31"/>
                <a:gd name="T4" fmla="*/ 9 w 210"/>
                <a:gd name="T5" fmla="*/ 2 h 31"/>
                <a:gd name="T6" fmla="*/ 5 w 210"/>
                <a:gd name="T7" fmla="*/ 5 h 31"/>
                <a:gd name="T8" fmla="*/ 2 w 210"/>
                <a:gd name="T9" fmla="*/ 10 h 31"/>
                <a:gd name="T10" fmla="*/ 0 w 210"/>
                <a:gd name="T11" fmla="*/ 15 h 31"/>
                <a:gd name="T12" fmla="*/ 2 w 210"/>
                <a:gd name="T13" fmla="*/ 21 h 31"/>
                <a:gd name="T14" fmla="*/ 5 w 210"/>
                <a:gd name="T15" fmla="*/ 26 h 31"/>
                <a:gd name="T16" fmla="*/ 9 w 210"/>
                <a:gd name="T17" fmla="*/ 30 h 31"/>
                <a:gd name="T18" fmla="*/ 15 w 210"/>
                <a:gd name="T19" fmla="*/ 31 h 31"/>
                <a:gd name="T20" fmla="*/ 196 w 210"/>
                <a:gd name="T21" fmla="*/ 31 h 31"/>
                <a:gd name="T22" fmla="*/ 202 w 210"/>
                <a:gd name="T23" fmla="*/ 30 h 31"/>
                <a:gd name="T24" fmla="*/ 207 w 210"/>
                <a:gd name="T25" fmla="*/ 26 h 31"/>
                <a:gd name="T26" fmla="*/ 209 w 210"/>
                <a:gd name="T27" fmla="*/ 21 h 31"/>
                <a:gd name="T28" fmla="*/ 210 w 210"/>
                <a:gd name="T29" fmla="*/ 15 h 31"/>
                <a:gd name="T30" fmla="*/ 209 w 210"/>
                <a:gd name="T31" fmla="*/ 10 h 31"/>
                <a:gd name="T32" fmla="*/ 207 w 210"/>
                <a:gd name="T33" fmla="*/ 5 h 31"/>
                <a:gd name="T34" fmla="*/ 202 w 210"/>
                <a:gd name="T35" fmla="*/ 2 h 31"/>
                <a:gd name="T36" fmla="*/ 196 w 21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0" h="31">
                  <a:moveTo>
                    <a:pt x="196" y="0"/>
                  </a:moveTo>
                  <a:lnTo>
                    <a:pt x="15" y="0"/>
                  </a:lnTo>
                  <a:lnTo>
                    <a:pt x="9" y="2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5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196" y="31"/>
                  </a:lnTo>
                  <a:lnTo>
                    <a:pt x="202" y="30"/>
                  </a:lnTo>
                  <a:lnTo>
                    <a:pt x="207" y="26"/>
                  </a:lnTo>
                  <a:lnTo>
                    <a:pt x="209" y="21"/>
                  </a:lnTo>
                  <a:lnTo>
                    <a:pt x="210" y="15"/>
                  </a:lnTo>
                  <a:lnTo>
                    <a:pt x="209" y="10"/>
                  </a:lnTo>
                  <a:lnTo>
                    <a:pt x="207" y="5"/>
                  </a:lnTo>
                  <a:lnTo>
                    <a:pt x="202" y="2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2130"/>
            <p:cNvSpPr>
              <a:spLocks/>
            </p:cNvSpPr>
            <p:nvPr/>
          </p:nvSpPr>
          <p:spPr bwMode="auto">
            <a:xfrm>
              <a:off x="10569575" y="1074738"/>
              <a:ext cx="66675" cy="28575"/>
            </a:xfrm>
            <a:custGeom>
              <a:avLst/>
              <a:gdLst>
                <a:gd name="T0" fmla="*/ 196 w 210"/>
                <a:gd name="T1" fmla="*/ 0 h 91"/>
                <a:gd name="T2" fmla="*/ 15 w 210"/>
                <a:gd name="T3" fmla="*/ 0 h 91"/>
                <a:gd name="T4" fmla="*/ 9 w 210"/>
                <a:gd name="T5" fmla="*/ 1 h 91"/>
                <a:gd name="T6" fmla="*/ 5 w 210"/>
                <a:gd name="T7" fmla="*/ 5 h 91"/>
                <a:gd name="T8" fmla="*/ 2 w 210"/>
                <a:gd name="T9" fmla="*/ 10 h 91"/>
                <a:gd name="T10" fmla="*/ 0 w 210"/>
                <a:gd name="T11" fmla="*/ 16 h 91"/>
                <a:gd name="T12" fmla="*/ 2 w 210"/>
                <a:gd name="T13" fmla="*/ 21 h 91"/>
                <a:gd name="T14" fmla="*/ 5 w 210"/>
                <a:gd name="T15" fmla="*/ 26 h 91"/>
                <a:gd name="T16" fmla="*/ 9 w 210"/>
                <a:gd name="T17" fmla="*/ 30 h 91"/>
                <a:gd name="T18" fmla="*/ 15 w 210"/>
                <a:gd name="T19" fmla="*/ 31 h 91"/>
                <a:gd name="T20" fmla="*/ 91 w 210"/>
                <a:gd name="T21" fmla="*/ 31 h 91"/>
                <a:gd name="T22" fmla="*/ 91 w 210"/>
                <a:gd name="T23" fmla="*/ 76 h 91"/>
                <a:gd name="T24" fmla="*/ 92 w 210"/>
                <a:gd name="T25" fmla="*/ 82 h 91"/>
                <a:gd name="T26" fmla="*/ 94 w 210"/>
                <a:gd name="T27" fmla="*/ 87 h 91"/>
                <a:gd name="T28" fmla="*/ 99 w 210"/>
                <a:gd name="T29" fmla="*/ 89 h 91"/>
                <a:gd name="T30" fmla="*/ 105 w 210"/>
                <a:gd name="T31" fmla="*/ 91 h 91"/>
                <a:gd name="T32" fmla="*/ 111 w 210"/>
                <a:gd name="T33" fmla="*/ 89 h 91"/>
                <a:gd name="T34" fmla="*/ 116 w 210"/>
                <a:gd name="T35" fmla="*/ 87 h 91"/>
                <a:gd name="T36" fmla="*/ 120 w 210"/>
                <a:gd name="T37" fmla="*/ 82 h 91"/>
                <a:gd name="T38" fmla="*/ 120 w 210"/>
                <a:gd name="T39" fmla="*/ 76 h 91"/>
                <a:gd name="T40" fmla="*/ 120 w 210"/>
                <a:gd name="T41" fmla="*/ 31 h 91"/>
                <a:gd name="T42" fmla="*/ 196 w 210"/>
                <a:gd name="T43" fmla="*/ 31 h 91"/>
                <a:gd name="T44" fmla="*/ 202 w 210"/>
                <a:gd name="T45" fmla="*/ 30 h 91"/>
                <a:gd name="T46" fmla="*/ 207 w 210"/>
                <a:gd name="T47" fmla="*/ 26 h 91"/>
                <a:gd name="T48" fmla="*/ 209 w 210"/>
                <a:gd name="T49" fmla="*/ 21 h 91"/>
                <a:gd name="T50" fmla="*/ 210 w 210"/>
                <a:gd name="T51" fmla="*/ 16 h 91"/>
                <a:gd name="T52" fmla="*/ 209 w 210"/>
                <a:gd name="T53" fmla="*/ 10 h 91"/>
                <a:gd name="T54" fmla="*/ 207 w 210"/>
                <a:gd name="T55" fmla="*/ 5 h 91"/>
                <a:gd name="T56" fmla="*/ 202 w 210"/>
                <a:gd name="T57" fmla="*/ 1 h 91"/>
                <a:gd name="T58" fmla="*/ 196 w 210"/>
                <a:gd name="T5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10" h="91">
                  <a:moveTo>
                    <a:pt x="196" y="0"/>
                  </a:moveTo>
                  <a:lnTo>
                    <a:pt x="15" y="0"/>
                  </a:lnTo>
                  <a:lnTo>
                    <a:pt x="9" y="1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91" y="31"/>
                  </a:lnTo>
                  <a:lnTo>
                    <a:pt x="91" y="76"/>
                  </a:lnTo>
                  <a:lnTo>
                    <a:pt x="92" y="82"/>
                  </a:lnTo>
                  <a:lnTo>
                    <a:pt x="94" y="87"/>
                  </a:lnTo>
                  <a:lnTo>
                    <a:pt x="99" y="89"/>
                  </a:lnTo>
                  <a:lnTo>
                    <a:pt x="105" y="91"/>
                  </a:lnTo>
                  <a:lnTo>
                    <a:pt x="111" y="89"/>
                  </a:lnTo>
                  <a:lnTo>
                    <a:pt x="116" y="87"/>
                  </a:lnTo>
                  <a:lnTo>
                    <a:pt x="120" y="82"/>
                  </a:lnTo>
                  <a:lnTo>
                    <a:pt x="120" y="76"/>
                  </a:lnTo>
                  <a:lnTo>
                    <a:pt x="120" y="31"/>
                  </a:lnTo>
                  <a:lnTo>
                    <a:pt x="196" y="31"/>
                  </a:lnTo>
                  <a:lnTo>
                    <a:pt x="202" y="30"/>
                  </a:lnTo>
                  <a:lnTo>
                    <a:pt x="207" y="26"/>
                  </a:lnTo>
                  <a:lnTo>
                    <a:pt x="209" y="21"/>
                  </a:lnTo>
                  <a:lnTo>
                    <a:pt x="210" y="16"/>
                  </a:lnTo>
                  <a:lnTo>
                    <a:pt x="209" y="10"/>
                  </a:lnTo>
                  <a:lnTo>
                    <a:pt x="207" y="5"/>
                  </a:lnTo>
                  <a:lnTo>
                    <a:pt x="202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3" name="Freeform 3073"/>
          <p:cNvSpPr>
            <a:spLocks noEditPoints="1"/>
          </p:cNvSpPr>
          <p:nvPr/>
        </p:nvSpPr>
        <p:spPr bwMode="auto">
          <a:xfrm>
            <a:off x="10326016" y="2462005"/>
            <a:ext cx="285750" cy="285750"/>
          </a:xfrm>
          <a:custGeom>
            <a:avLst/>
            <a:gdLst>
              <a:gd name="T0" fmla="*/ 620 w 720"/>
              <a:gd name="T1" fmla="*/ 289 h 719"/>
              <a:gd name="T2" fmla="*/ 600 w 720"/>
              <a:gd name="T3" fmla="*/ 278 h 719"/>
              <a:gd name="T4" fmla="*/ 636 w 720"/>
              <a:gd name="T5" fmla="*/ 145 h 719"/>
              <a:gd name="T6" fmla="*/ 695 w 720"/>
              <a:gd name="T7" fmla="*/ 114 h 719"/>
              <a:gd name="T8" fmla="*/ 680 w 720"/>
              <a:gd name="T9" fmla="*/ 209 h 719"/>
              <a:gd name="T10" fmla="*/ 645 w 720"/>
              <a:gd name="T11" fmla="*/ 270 h 719"/>
              <a:gd name="T12" fmla="*/ 425 w 720"/>
              <a:gd name="T13" fmla="*/ 278 h 719"/>
              <a:gd name="T14" fmla="*/ 416 w 720"/>
              <a:gd name="T15" fmla="*/ 280 h 719"/>
              <a:gd name="T16" fmla="*/ 298 w 720"/>
              <a:gd name="T17" fmla="*/ 282 h 719"/>
              <a:gd name="T18" fmla="*/ 261 w 720"/>
              <a:gd name="T19" fmla="*/ 160 h 719"/>
              <a:gd name="T20" fmla="*/ 332 w 720"/>
              <a:gd name="T21" fmla="*/ 150 h 719"/>
              <a:gd name="T22" fmla="*/ 364 w 720"/>
              <a:gd name="T23" fmla="*/ 101 h 719"/>
              <a:gd name="T24" fmla="*/ 462 w 720"/>
              <a:gd name="T25" fmla="*/ 158 h 719"/>
              <a:gd name="T26" fmla="*/ 49 w 720"/>
              <a:gd name="T27" fmla="*/ 236 h 719"/>
              <a:gd name="T28" fmla="*/ 29 w 720"/>
              <a:gd name="T29" fmla="*/ 170 h 719"/>
              <a:gd name="T30" fmla="*/ 24 w 720"/>
              <a:gd name="T31" fmla="*/ 72 h 719"/>
              <a:gd name="T32" fmla="*/ 90 w 720"/>
              <a:gd name="T33" fmla="*/ 177 h 719"/>
              <a:gd name="T34" fmla="*/ 129 w 720"/>
              <a:gd name="T35" fmla="*/ 298 h 719"/>
              <a:gd name="T36" fmla="*/ 91 w 720"/>
              <a:gd name="T37" fmla="*/ 284 h 719"/>
              <a:gd name="T38" fmla="*/ 719 w 720"/>
              <a:gd name="T39" fmla="*/ 69 h 719"/>
              <a:gd name="T40" fmla="*/ 712 w 720"/>
              <a:gd name="T41" fmla="*/ 50 h 719"/>
              <a:gd name="T42" fmla="*/ 644 w 720"/>
              <a:gd name="T43" fmla="*/ 21 h 719"/>
              <a:gd name="T44" fmla="*/ 632 w 720"/>
              <a:gd name="T45" fmla="*/ 0 h 719"/>
              <a:gd name="T46" fmla="*/ 77 w 720"/>
              <a:gd name="T47" fmla="*/ 13 h 719"/>
              <a:gd name="T48" fmla="*/ 12 w 720"/>
              <a:gd name="T49" fmla="*/ 48 h 719"/>
              <a:gd name="T50" fmla="*/ 0 w 720"/>
              <a:gd name="T51" fmla="*/ 66 h 719"/>
              <a:gd name="T52" fmla="*/ 6 w 720"/>
              <a:gd name="T53" fmla="*/ 177 h 719"/>
              <a:gd name="T54" fmla="*/ 29 w 720"/>
              <a:gd name="T55" fmla="*/ 250 h 719"/>
              <a:gd name="T56" fmla="*/ 73 w 720"/>
              <a:gd name="T57" fmla="*/ 302 h 719"/>
              <a:gd name="T58" fmla="*/ 130 w 720"/>
              <a:gd name="T59" fmla="*/ 322 h 719"/>
              <a:gd name="T60" fmla="*/ 195 w 720"/>
              <a:gd name="T61" fmla="*/ 379 h 719"/>
              <a:gd name="T62" fmla="*/ 288 w 720"/>
              <a:gd name="T63" fmla="*/ 441 h 719"/>
              <a:gd name="T64" fmla="*/ 312 w 720"/>
              <a:gd name="T65" fmla="*/ 476 h 719"/>
              <a:gd name="T66" fmla="*/ 316 w 720"/>
              <a:gd name="T67" fmla="*/ 529 h 719"/>
              <a:gd name="T68" fmla="*/ 299 w 720"/>
              <a:gd name="T69" fmla="*/ 596 h 719"/>
              <a:gd name="T70" fmla="*/ 262 w 720"/>
              <a:gd name="T71" fmla="*/ 628 h 719"/>
              <a:gd name="T72" fmla="*/ 204 w 720"/>
              <a:gd name="T73" fmla="*/ 635 h 719"/>
              <a:gd name="T74" fmla="*/ 192 w 720"/>
              <a:gd name="T75" fmla="*/ 707 h 719"/>
              <a:gd name="T76" fmla="*/ 515 w 720"/>
              <a:gd name="T77" fmla="*/ 719 h 719"/>
              <a:gd name="T78" fmla="*/ 527 w 720"/>
              <a:gd name="T79" fmla="*/ 647 h 719"/>
              <a:gd name="T80" fmla="*/ 501 w 720"/>
              <a:gd name="T81" fmla="*/ 635 h 719"/>
              <a:gd name="T82" fmla="*/ 445 w 720"/>
              <a:gd name="T83" fmla="*/ 618 h 719"/>
              <a:gd name="T84" fmla="*/ 412 w 720"/>
              <a:gd name="T85" fmla="*/ 577 h 719"/>
              <a:gd name="T86" fmla="*/ 401 w 720"/>
              <a:gd name="T87" fmla="*/ 511 h 719"/>
              <a:gd name="T88" fmla="*/ 410 w 720"/>
              <a:gd name="T89" fmla="*/ 470 h 719"/>
              <a:gd name="T90" fmla="*/ 443 w 720"/>
              <a:gd name="T91" fmla="*/ 431 h 719"/>
              <a:gd name="T92" fmla="*/ 537 w 720"/>
              <a:gd name="T93" fmla="*/ 367 h 719"/>
              <a:gd name="T94" fmla="*/ 601 w 720"/>
              <a:gd name="T95" fmla="*/ 321 h 719"/>
              <a:gd name="T96" fmla="*/ 653 w 720"/>
              <a:gd name="T97" fmla="*/ 295 h 719"/>
              <a:gd name="T98" fmla="*/ 696 w 720"/>
              <a:gd name="T99" fmla="*/ 233 h 719"/>
              <a:gd name="T100" fmla="*/ 718 w 720"/>
              <a:gd name="T101" fmla="*/ 141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20" h="719">
                <a:moveTo>
                  <a:pt x="645" y="270"/>
                </a:moveTo>
                <a:lnTo>
                  <a:pt x="640" y="276"/>
                </a:lnTo>
                <a:lnTo>
                  <a:pt x="633" y="280"/>
                </a:lnTo>
                <a:lnTo>
                  <a:pt x="627" y="284"/>
                </a:lnTo>
                <a:lnTo>
                  <a:pt x="620" y="289"/>
                </a:lnTo>
                <a:lnTo>
                  <a:pt x="614" y="291"/>
                </a:lnTo>
                <a:lnTo>
                  <a:pt x="606" y="295"/>
                </a:lnTo>
                <a:lnTo>
                  <a:pt x="599" y="296"/>
                </a:lnTo>
                <a:lnTo>
                  <a:pt x="590" y="298"/>
                </a:lnTo>
                <a:lnTo>
                  <a:pt x="600" y="278"/>
                </a:lnTo>
                <a:lnTo>
                  <a:pt x="609" y="257"/>
                </a:lnTo>
                <a:lnTo>
                  <a:pt x="618" y="233"/>
                </a:lnTo>
                <a:lnTo>
                  <a:pt x="625" y="207"/>
                </a:lnTo>
                <a:lnTo>
                  <a:pt x="631" y="177"/>
                </a:lnTo>
                <a:lnTo>
                  <a:pt x="636" y="145"/>
                </a:lnTo>
                <a:lnTo>
                  <a:pt x="639" y="110"/>
                </a:lnTo>
                <a:lnTo>
                  <a:pt x="643" y="72"/>
                </a:lnTo>
                <a:lnTo>
                  <a:pt x="695" y="72"/>
                </a:lnTo>
                <a:lnTo>
                  <a:pt x="695" y="90"/>
                </a:lnTo>
                <a:lnTo>
                  <a:pt x="695" y="114"/>
                </a:lnTo>
                <a:lnTo>
                  <a:pt x="694" y="140"/>
                </a:lnTo>
                <a:lnTo>
                  <a:pt x="690" y="167"/>
                </a:lnTo>
                <a:lnTo>
                  <a:pt x="687" y="182"/>
                </a:lnTo>
                <a:lnTo>
                  <a:pt x="684" y="196"/>
                </a:lnTo>
                <a:lnTo>
                  <a:pt x="680" y="209"/>
                </a:lnTo>
                <a:lnTo>
                  <a:pt x="675" y="223"/>
                </a:lnTo>
                <a:lnTo>
                  <a:pt x="669" y="236"/>
                </a:lnTo>
                <a:lnTo>
                  <a:pt x="662" y="248"/>
                </a:lnTo>
                <a:lnTo>
                  <a:pt x="655" y="259"/>
                </a:lnTo>
                <a:lnTo>
                  <a:pt x="645" y="270"/>
                </a:lnTo>
                <a:lnTo>
                  <a:pt x="645" y="270"/>
                </a:lnTo>
                <a:close/>
                <a:moveTo>
                  <a:pt x="460" y="160"/>
                </a:moveTo>
                <a:lnTo>
                  <a:pt x="402" y="205"/>
                </a:lnTo>
                <a:lnTo>
                  <a:pt x="425" y="273"/>
                </a:lnTo>
                <a:lnTo>
                  <a:pt x="425" y="278"/>
                </a:lnTo>
                <a:lnTo>
                  <a:pt x="424" y="280"/>
                </a:lnTo>
                <a:lnTo>
                  <a:pt x="421" y="282"/>
                </a:lnTo>
                <a:lnTo>
                  <a:pt x="420" y="282"/>
                </a:lnTo>
                <a:lnTo>
                  <a:pt x="418" y="282"/>
                </a:lnTo>
                <a:lnTo>
                  <a:pt x="416" y="280"/>
                </a:lnTo>
                <a:lnTo>
                  <a:pt x="360" y="235"/>
                </a:lnTo>
                <a:lnTo>
                  <a:pt x="304" y="280"/>
                </a:lnTo>
                <a:lnTo>
                  <a:pt x="303" y="282"/>
                </a:lnTo>
                <a:lnTo>
                  <a:pt x="300" y="282"/>
                </a:lnTo>
                <a:lnTo>
                  <a:pt x="298" y="282"/>
                </a:lnTo>
                <a:lnTo>
                  <a:pt x="297" y="280"/>
                </a:lnTo>
                <a:lnTo>
                  <a:pt x="294" y="278"/>
                </a:lnTo>
                <a:lnTo>
                  <a:pt x="294" y="273"/>
                </a:lnTo>
                <a:lnTo>
                  <a:pt x="317" y="205"/>
                </a:lnTo>
                <a:lnTo>
                  <a:pt x="261" y="160"/>
                </a:lnTo>
                <a:lnTo>
                  <a:pt x="259" y="158"/>
                </a:lnTo>
                <a:lnTo>
                  <a:pt x="259" y="154"/>
                </a:lnTo>
                <a:lnTo>
                  <a:pt x="261" y="151"/>
                </a:lnTo>
                <a:lnTo>
                  <a:pt x="264" y="150"/>
                </a:lnTo>
                <a:lnTo>
                  <a:pt x="332" y="150"/>
                </a:lnTo>
                <a:lnTo>
                  <a:pt x="354" y="101"/>
                </a:lnTo>
                <a:lnTo>
                  <a:pt x="356" y="97"/>
                </a:lnTo>
                <a:lnTo>
                  <a:pt x="358" y="97"/>
                </a:lnTo>
                <a:lnTo>
                  <a:pt x="362" y="97"/>
                </a:lnTo>
                <a:lnTo>
                  <a:pt x="364" y="101"/>
                </a:lnTo>
                <a:lnTo>
                  <a:pt x="388" y="150"/>
                </a:lnTo>
                <a:lnTo>
                  <a:pt x="456" y="150"/>
                </a:lnTo>
                <a:lnTo>
                  <a:pt x="460" y="151"/>
                </a:lnTo>
                <a:lnTo>
                  <a:pt x="462" y="154"/>
                </a:lnTo>
                <a:lnTo>
                  <a:pt x="462" y="158"/>
                </a:lnTo>
                <a:lnTo>
                  <a:pt x="460" y="160"/>
                </a:lnTo>
                <a:close/>
                <a:moveTo>
                  <a:pt x="72" y="270"/>
                </a:moveTo>
                <a:lnTo>
                  <a:pt x="63" y="260"/>
                </a:lnTo>
                <a:lnTo>
                  <a:pt x="55" y="248"/>
                </a:lnTo>
                <a:lnTo>
                  <a:pt x="49" y="236"/>
                </a:lnTo>
                <a:lnTo>
                  <a:pt x="43" y="225"/>
                </a:lnTo>
                <a:lnTo>
                  <a:pt x="38" y="211"/>
                </a:lnTo>
                <a:lnTo>
                  <a:pt x="35" y="198"/>
                </a:lnTo>
                <a:lnTo>
                  <a:pt x="31" y="184"/>
                </a:lnTo>
                <a:lnTo>
                  <a:pt x="29" y="170"/>
                </a:lnTo>
                <a:lnTo>
                  <a:pt x="27" y="142"/>
                </a:lnTo>
                <a:lnTo>
                  <a:pt x="24" y="116"/>
                </a:lnTo>
                <a:lnTo>
                  <a:pt x="24" y="9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78" y="72"/>
                </a:lnTo>
                <a:lnTo>
                  <a:pt x="80" y="110"/>
                </a:lnTo>
                <a:lnTo>
                  <a:pt x="85" y="145"/>
                </a:lnTo>
                <a:lnTo>
                  <a:pt x="90" y="177"/>
                </a:lnTo>
                <a:lnTo>
                  <a:pt x="96" y="207"/>
                </a:lnTo>
                <a:lnTo>
                  <a:pt x="103" y="233"/>
                </a:lnTo>
                <a:lnTo>
                  <a:pt x="111" y="257"/>
                </a:lnTo>
                <a:lnTo>
                  <a:pt x="119" y="278"/>
                </a:lnTo>
                <a:lnTo>
                  <a:pt x="129" y="298"/>
                </a:lnTo>
                <a:lnTo>
                  <a:pt x="121" y="296"/>
                </a:lnTo>
                <a:lnTo>
                  <a:pt x="112" y="295"/>
                </a:lnTo>
                <a:lnTo>
                  <a:pt x="105" y="291"/>
                </a:lnTo>
                <a:lnTo>
                  <a:pt x="98" y="289"/>
                </a:lnTo>
                <a:lnTo>
                  <a:pt x="91" y="284"/>
                </a:lnTo>
                <a:lnTo>
                  <a:pt x="84" y="280"/>
                </a:lnTo>
                <a:lnTo>
                  <a:pt x="78" y="276"/>
                </a:lnTo>
                <a:lnTo>
                  <a:pt x="72" y="270"/>
                </a:lnTo>
                <a:lnTo>
                  <a:pt x="72" y="270"/>
                </a:lnTo>
                <a:close/>
                <a:moveTo>
                  <a:pt x="719" y="69"/>
                </a:moveTo>
                <a:lnTo>
                  <a:pt x="719" y="64"/>
                </a:lnTo>
                <a:lnTo>
                  <a:pt x="719" y="60"/>
                </a:lnTo>
                <a:lnTo>
                  <a:pt x="719" y="56"/>
                </a:lnTo>
                <a:lnTo>
                  <a:pt x="715" y="52"/>
                </a:lnTo>
                <a:lnTo>
                  <a:pt x="712" y="50"/>
                </a:lnTo>
                <a:lnTo>
                  <a:pt x="707" y="48"/>
                </a:lnTo>
                <a:lnTo>
                  <a:pt x="643" y="48"/>
                </a:lnTo>
                <a:lnTo>
                  <a:pt x="644" y="39"/>
                </a:lnTo>
                <a:lnTo>
                  <a:pt x="644" y="31"/>
                </a:lnTo>
                <a:lnTo>
                  <a:pt x="644" y="21"/>
                </a:lnTo>
                <a:lnTo>
                  <a:pt x="644" y="13"/>
                </a:lnTo>
                <a:lnTo>
                  <a:pt x="643" y="8"/>
                </a:lnTo>
                <a:lnTo>
                  <a:pt x="640" y="3"/>
                </a:lnTo>
                <a:lnTo>
                  <a:pt x="637" y="1"/>
                </a:lnTo>
                <a:lnTo>
                  <a:pt x="632" y="0"/>
                </a:lnTo>
                <a:lnTo>
                  <a:pt x="88" y="0"/>
                </a:lnTo>
                <a:lnTo>
                  <a:pt x="84" y="1"/>
                </a:lnTo>
                <a:lnTo>
                  <a:pt x="80" y="3"/>
                </a:lnTo>
                <a:lnTo>
                  <a:pt x="78" y="8"/>
                </a:lnTo>
                <a:lnTo>
                  <a:pt x="77" y="13"/>
                </a:lnTo>
                <a:lnTo>
                  <a:pt x="77" y="21"/>
                </a:lnTo>
                <a:lnTo>
                  <a:pt x="77" y="31"/>
                </a:lnTo>
                <a:lnTo>
                  <a:pt x="77" y="39"/>
                </a:lnTo>
                <a:lnTo>
                  <a:pt x="77" y="48"/>
                </a:lnTo>
                <a:lnTo>
                  <a:pt x="12" y="48"/>
                </a:lnTo>
                <a:lnTo>
                  <a:pt x="8" y="50"/>
                </a:lnTo>
                <a:lnTo>
                  <a:pt x="4" y="52"/>
                </a:lnTo>
                <a:lnTo>
                  <a:pt x="2" y="56"/>
                </a:lnTo>
                <a:lnTo>
                  <a:pt x="0" y="60"/>
                </a:lnTo>
                <a:lnTo>
                  <a:pt x="0" y="66"/>
                </a:lnTo>
                <a:lnTo>
                  <a:pt x="0" y="72"/>
                </a:lnTo>
                <a:lnTo>
                  <a:pt x="0" y="94"/>
                </a:lnTo>
                <a:lnTo>
                  <a:pt x="0" y="119"/>
                </a:lnTo>
                <a:lnTo>
                  <a:pt x="3" y="147"/>
                </a:lnTo>
                <a:lnTo>
                  <a:pt x="6" y="177"/>
                </a:lnTo>
                <a:lnTo>
                  <a:pt x="9" y="192"/>
                </a:lnTo>
                <a:lnTo>
                  <a:pt x="12" y="207"/>
                </a:lnTo>
                <a:lnTo>
                  <a:pt x="17" y="222"/>
                </a:lnTo>
                <a:lnTo>
                  <a:pt x="22" y="236"/>
                </a:lnTo>
                <a:lnTo>
                  <a:pt x="29" y="250"/>
                </a:lnTo>
                <a:lnTo>
                  <a:pt x="36" y="263"/>
                </a:lnTo>
                <a:lnTo>
                  <a:pt x="44" y="276"/>
                </a:lnTo>
                <a:lnTo>
                  <a:pt x="55" y="286"/>
                </a:lnTo>
                <a:lnTo>
                  <a:pt x="63" y="295"/>
                </a:lnTo>
                <a:lnTo>
                  <a:pt x="73" y="302"/>
                </a:lnTo>
                <a:lnTo>
                  <a:pt x="84" y="308"/>
                </a:lnTo>
                <a:lnTo>
                  <a:pt x="94" y="314"/>
                </a:lnTo>
                <a:lnTo>
                  <a:pt x="106" y="317"/>
                </a:lnTo>
                <a:lnTo>
                  <a:pt x="118" y="321"/>
                </a:lnTo>
                <a:lnTo>
                  <a:pt x="130" y="322"/>
                </a:lnTo>
                <a:lnTo>
                  <a:pt x="143" y="323"/>
                </a:lnTo>
                <a:lnTo>
                  <a:pt x="156" y="340"/>
                </a:lnTo>
                <a:lnTo>
                  <a:pt x="169" y="355"/>
                </a:lnTo>
                <a:lnTo>
                  <a:pt x="182" y="368"/>
                </a:lnTo>
                <a:lnTo>
                  <a:pt x="195" y="379"/>
                </a:lnTo>
                <a:lnTo>
                  <a:pt x="222" y="398"/>
                </a:lnTo>
                <a:lnTo>
                  <a:pt x="248" y="414"/>
                </a:lnTo>
                <a:lnTo>
                  <a:pt x="262" y="423"/>
                </a:lnTo>
                <a:lnTo>
                  <a:pt x="276" y="433"/>
                </a:lnTo>
                <a:lnTo>
                  <a:pt x="288" y="441"/>
                </a:lnTo>
                <a:lnTo>
                  <a:pt x="298" y="452"/>
                </a:lnTo>
                <a:lnTo>
                  <a:pt x="303" y="456"/>
                </a:lnTo>
                <a:lnTo>
                  <a:pt x="306" y="462"/>
                </a:lnTo>
                <a:lnTo>
                  <a:pt x="310" y="470"/>
                </a:lnTo>
                <a:lnTo>
                  <a:pt x="312" y="476"/>
                </a:lnTo>
                <a:lnTo>
                  <a:pt x="314" y="484"/>
                </a:lnTo>
                <a:lnTo>
                  <a:pt x="316" y="492"/>
                </a:lnTo>
                <a:lnTo>
                  <a:pt x="317" y="500"/>
                </a:lnTo>
                <a:lnTo>
                  <a:pt x="317" y="510"/>
                </a:lnTo>
                <a:lnTo>
                  <a:pt x="316" y="529"/>
                </a:lnTo>
                <a:lnTo>
                  <a:pt x="314" y="546"/>
                </a:lnTo>
                <a:lnTo>
                  <a:pt x="312" y="561"/>
                </a:lnTo>
                <a:lnTo>
                  <a:pt x="308" y="574"/>
                </a:lnTo>
                <a:lnTo>
                  <a:pt x="305" y="586"/>
                </a:lnTo>
                <a:lnTo>
                  <a:pt x="299" y="596"/>
                </a:lnTo>
                <a:lnTo>
                  <a:pt x="293" y="605"/>
                </a:lnTo>
                <a:lnTo>
                  <a:pt x="287" y="612"/>
                </a:lnTo>
                <a:lnTo>
                  <a:pt x="279" y="618"/>
                </a:lnTo>
                <a:lnTo>
                  <a:pt x="270" y="623"/>
                </a:lnTo>
                <a:lnTo>
                  <a:pt x="262" y="628"/>
                </a:lnTo>
                <a:lnTo>
                  <a:pt x="251" y="630"/>
                </a:lnTo>
                <a:lnTo>
                  <a:pt x="241" y="633"/>
                </a:lnTo>
                <a:lnTo>
                  <a:pt x="230" y="634"/>
                </a:lnTo>
                <a:lnTo>
                  <a:pt x="217" y="635"/>
                </a:lnTo>
                <a:lnTo>
                  <a:pt x="204" y="635"/>
                </a:lnTo>
                <a:lnTo>
                  <a:pt x="199" y="636"/>
                </a:lnTo>
                <a:lnTo>
                  <a:pt x="195" y="638"/>
                </a:lnTo>
                <a:lnTo>
                  <a:pt x="193" y="642"/>
                </a:lnTo>
                <a:lnTo>
                  <a:pt x="192" y="647"/>
                </a:lnTo>
                <a:lnTo>
                  <a:pt x="192" y="707"/>
                </a:lnTo>
                <a:lnTo>
                  <a:pt x="193" y="711"/>
                </a:lnTo>
                <a:lnTo>
                  <a:pt x="195" y="716"/>
                </a:lnTo>
                <a:lnTo>
                  <a:pt x="199" y="718"/>
                </a:lnTo>
                <a:lnTo>
                  <a:pt x="204" y="719"/>
                </a:lnTo>
                <a:lnTo>
                  <a:pt x="515" y="719"/>
                </a:lnTo>
                <a:lnTo>
                  <a:pt x="520" y="718"/>
                </a:lnTo>
                <a:lnTo>
                  <a:pt x="524" y="716"/>
                </a:lnTo>
                <a:lnTo>
                  <a:pt x="526" y="711"/>
                </a:lnTo>
                <a:lnTo>
                  <a:pt x="527" y="707"/>
                </a:lnTo>
                <a:lnTo>
                  <a:pt x="527" y="647"/>
                </a:lnTo>
                <a:lnTo>
                  <a:pt x="526" y="642"/>
                </a:lnTo>
                <a:lnTo>
                  <a:pt x="524" y="638"/>
                </a:lnTo>
                <a:lnTo>
                  <a:pt x="520" y="636"/>
                </a:lnTo>
                <a:lnTo>
                  <a:pt x="515" y="635"/>
                </a:lnTo>
                <a:lnTo>
                  <a:pt x="501" y="635"/>
                </a:lnTo>
                <a:lnTo>
                  <a:pt x="488" y="634"/>
                </a:lnTo>
                <a:lnTo>
                  <a:pt x="476" y="631"/>
                </a:lnTo>
                <a:lnTo>
                  <a:pt x="464" y="628"/>
                </a:lnTo>
                <a:lnTo>
                  <a:pt x="455" y="623"/>
                </a:lnTo>
                <a:lnTo>
                  <a:pt x="445" y="618"/>
                </a:lnTo>
                <a:lnTo>
                  <a:pt x="437" y="612"/>
                </a:lnTo>
                <a:lnTo>
                  <a:pt x="429" y="605"/>
                </a:lnTo>
                <a:lnTo>
                  <a:pt x="423" y="597"/>
                </a:lnTo>
                <a:lnTo>
                  <a:pt x="417" y="587"/>
                </a:lnTo>
                <a:lnTo>
                  <a:pt x="412" y="577"/>
                </a:lnTo>
                <a:lnTo>
                  <a:pt x="408" y="566"/>
                </a:lnTo>
                <a:lnTo>
                  <a:pt x="405" y="554"/>
                </a:lnTo>
                <a:lnTo>
                  <a:pt x="402" y="541"/>
                </a:lnTo>
                <a:lnTo>
                  <a:pt x="401" y="525"/>
                </a:lnTo>
                <a:lnTo>
                  <a:pt x="401" y="511"/>
                </a:lnTo>
                <a:lnTo>
                  <a:pt x="401" y="500"/>
                </a:lnTo>
                <a:lnTo>
                  <a:pt x="402" y="492"/>
                </a:lnTo>
                <a:lnTo>
                  <a:pt x="404" y="484"/>
                </a:lnTo>
                <a:lnTo>
                  <a:pt x="406" y="476"/>
                </a:lnTo>
                <a:lnTo>
                  <a:pt x="410" y="470"/>
                </a:lnTo>
                <a:lnTo>
                  <a:pt x="412" y="462"/>
                </a:lnTo>
                <a:lnTo>
                  <a:pt x="417" y="456"/>
                </a:lnTo>
                <a:lnTo>
                  <a:pt x="420" y="451"/>
                </a:lnTo>
                <a:lnTo>
                  <a:pt x="431" y="441"/>
                </a:lnTo>
                <a:lnTo>
                  <a:pt x="443" y="431"/>
                </a:lnTo>
                <a:lnTo>
                  <a:pt x="456" y="423"/>
                </a:lnTo>
                <a:lnTo>
                  <a:pt x="471" y="414"/>
                </a:lnTo>
                <a:lnTo>
                  <a:pt x="498" y="398"/>
                </a:lnTo>
                <a:lnTo>
                  <a:pt x="524" y="379"/>
                </a:lnTo>
                <a:lnTo>
                  <a:pt x="537" y="367"/>
                </a:lnTo>
                <a:lnTo>
                  <a:pt x="550" y="354"/>
                </a:lnTo>
                <a:lnTo>
                  <a:pt x="563" y="340"/>
                </a:lnTo>
                <a:lnTo>
                  <a:pt x="575" y="323"/>
                </a:lnTo>
                <a:lnTo>
                  <a:pt x="588" y="322"/>
                </a:lnTo>
                <a:lnTo>
                  <a:pt x="601" y="321"/>
                </a:lnTo>
                <a:lnTo>
                  <a:pt x="612" y="317"/>
                </a:lnTo>
                <a:lnTo>
                  <a:pt x="624" y="314"/>
                </a:lnTo>
                <a:lnTo>
                  <a:pt x="634" y="308"/>
                </a:lnTo>
                <a:lnTo>
                  <a:pt x="644" y="302"/>
                </a:lnTo>
                <a:lnTo>
                  <a:pt x="653" y="295"/>
                </a:lnTo>
                <a:lnTo>
                  <a:pt x="663" y="286"/>
                </a:lnTo>
                <a:lnTo>
                  <a:pt x="672" y="274"/>
                </a:lnTo>
                <a:lnTo>
                  <a:pt x="682" y="261"/>
                </a:lnTo>
                <a:lnTo>
                  <a:pt x="690" y="248"/>
                </a:lnTo>
                <a:lnTo>
                  <a:pt x="696" y="233"/>
                </a:lnTo>
                <a:lnTo>
                  <a:pt x="702" y="219"/>
                </a:lnTo>
                <a:lnTo>
                  <a:pt x="707" y="203"/>
                </a:lnTo>
                <a:lnTo>
                  <a:pt x="711" y="188"/>
                </a:lnTo>
                <a:lnTo>
                  <a:pt x="713" y="171"/>
                </a:lnTo>
                <a:lnTo>
                  <a:pt x="718" y="141"/>
                </a:lnTo>
                <a:lnTo>
                  <a:pt x="719" y="113"/>
                </a:lnTo>
                <a:lnTo>
                  <a:pt x="720" y="88"/>
                </a:lnTo>
                <a:lnTo>
                  <a:pt x="719" y="69"/>
                </a:lnTo>
                <a:close/>
              </a:path>
            </a:pathLst>
          </a:custGeom>
          <a:solidFill>
            <a:srgbClr val="F6443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5" name="Text Placeholder 2"/>
          <p:cNvSpPr txBox="1">
            <a:spLocks/>
          </p:cNvSpPr>
          <p:nvPr/>
        </p:nvSpPr>
        <p:spPr>
          <a:xfrm>
            <a:off x="814298" y="4035908"/>
            <a:ext cx="1751524" cy="1285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 Lorem Ipsum has been the industry's standard dummy text ever since the 1500s.</a:t>
            </a:r>
          </a:p>
        </p:txBody>
      </p:sp>
      <p:sp>
        <p:nvSpPr>
          <p:cNvPr id="156" name="TextBox 155"/>
          <p:cNvSpPr txBox="1"/>
          <p:nvPr/>
        </p:nvSpPr>
        <p:spPr>
          <a:xfrm>
            <a:off x="814298" y="3616416"/>
            <a:ext cx="1751524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cy-GB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LOREM IPSUM</a:t>
            </a:r>
            <a:endParaRPr lang="en-US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57" name="Text Placeholder 2"/>
          <p:cNvSpPr txBox="1">
            <a:spLocks/>
          </p:cNvSpPr>
          <p:nvPr/>
        </p:nvSpPr>
        <p:spPr>
          <a:xfrm>
            <a:off x="3064292" y="4035908"/>
            <a:ext cx="1751524" cy="1285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 Lorem Ipsum has been the industry's standard dummy text ever since the 1500s.</a:t>
            </a:r>
          </a:p>
        </p:txBody>
      </p:sp>
      <p:sp>
        <p:nvSpPr>
          <p:cNvPr id="158" name="TextBox 157"/>
          <p:cNvSpPr txBox="1"/>
          <p:nvPr/>
        </p:nvSpPr>
        <p:spPr>
          <a:xfrm>
            <a:off x="3064292" y="3616416"/>
            <a:ext cx="1751524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cy-GB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LOREM IPSUM</a:t>
            </a:r>
            <a:endParaRPr lang="en-US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59" name="Text Placeholder 2"/>
          <p:cNvSpPr txBox="1">
            <a:spLocks/>
          </p:cNvSpPr>
          <p:nvPr/>
        </p:nvSpPr>
        <p:spPr>
          <a:xfrm>
            <a:off x="5299676" y="4035908"/>
            <a:ext cx="1751524" cy="1285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 Lorem Ipsum has been the industry's standard dummy text ever since the 1500s.</a:t>
            </a:r>
          </a:p>
        </p:txBody>
      </p:sp>
      <p:sp>
        <p:nvSpPr>
          <p:cNvPr id="160" name="TextBox 159"/>
          <p:cNvSpPr txBox="1"/>
          <p:nvPr/>
        </p:nvSpPr>
        <p:spPr>
          <a:xfrm>
            <a:off x="5299676" y="3616416"/>
            <a:ext cx="1751524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cy-GB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LOREM IPSUM</a:t>
            </a:r>
            <a:endParaRPr lang="en-US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61" name="Text Placeholder 2"/>
          <p:cNvSpPr txBox="1">
            <a:spLocks/>
          </p:cNvSpPr>
          <p:nvPr/>
        </p:nvSpPr>
        <p:spPr>
          <a:xfrm>
            <a:off x="7535060" y="4035908"/>
            <a:ext cx="1751524" cy="1285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 Lorem Ipsum has been the industry's standard dummy text ever since the 1500s.</a:t>
            </a:r>
          </a:p>
        </p:txBody>
      </p:sp>
      <p:sp>
        <p:nvSpPr>
          <p:cNvPr id="162" name="TextBox 161"/>
          <p:cNvSpPr txBox="1"/>
          <p:nvPr/>
        </p:nvSpPr>
        <p:spPr>
          <a:xfrm>
            <a:off x="7535060" y="3616416"/>
            <a:ext cx="1751524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cy-GB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LOREM IPSUM</a:t>
            </a:r>
            <a:endParaRPr lang="en-US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63" name="Text Placeholder 2"/>
          <p:cNvSpPr txBox="1">
            <a:spLocks/>
          </p:cNvSpPr>
          <p:nvPr/>
        </p:nvSpPr>
        <p:spPr>
          <a:xfrm>
            <a:off x="9779288" y="4035908"/>
            <a:ext cx="1751524" cy="1285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rgbClr val="B0F7F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 Lorem Ipsum has been the industry's standard dummy text ever since the 1500s.</a:t>
            </a:r>
          </a:p>
        </p:txBody>
      </p:sp>
      <p:sp>
        <p:nvSpPr>
          <p:cNvPr id="164" name="TextBox 163"/>
          <p:cNvSpPr txBox="1"/>
          <p:nvPr/>
        </p:nvSpPr>
        <p:spPr>
          <a:xfrm>
            <a:off x="9779288" y="3616416"/>
            <a:ext cx="1751524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cy-GB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LOREM IPSUM</a:t>
            </a:r>
            <a:endParaRPr lang="en-US" dirty="0">
              <a:solidFill>
                <a:srgbClr val="B0F7F4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50828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1" y="0"/>
            <a:ext cx="12192000" cy="6858000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cxnSp>
        <p:nvCxnSpPr>
          <p:cNvPr id="40" name="Straight Connector 39"/>
          <p:cNvCxnSpPr/>
          <p:nvPr/>
        </p:nvCxnSpPr>
        <p:spPr>
          <a:xfrm>
            <a:off x="7340600" y="2413000"/>
            <a:ext cx="533400" cy="0"/>
          </a:xfrm>
          <a:prstGeom prst="line">
            <a:avLst/>
          </a:prstGeom>
          <a:ln>
            <a:solidFill>
              <a:srgbClr val="B0F7F4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7340600" y="3413337"/>
            <a:ext cx="533400" cy="0"/>
          </a:xfrm>
          <a:prstGeom prst="line">
            <a:avLst/>
          </a:prstGeom>
          <a:ln>
            <a:solidFill>
              <a:srgbClr val="F6443B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7340600" y="5414010"/>
            <a:ext cx="533400" cy="0"/>
          </a:xfrm>
          <a:prstGeom prst="line">
            <a:avLst/>
          </a:prstGeom>
          <a:ln>
            <a:solidFill>
              <a:srgbClr val="F6443B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7340600" y="4413674"/>
            <a:ext cx="533400" cy="0"/>
          </a:xfrm>
          <a:prstGeom prst="line">
            <a:avLst/>
          </a:prstGeom>
          <a:ln>
            <a:solidFill>
              <a:srgbClr val="B0F7F4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val 20"/>
          <p:cNvSpPr/>
          <p:nvPr/>
        </p:nvSpPr>
        <p:spPr>
          <a:xfrm>
            <a:off x="4381500" y="5979780"/>
            <a:ext cx="3429000" cy="380078"/>
          </a:xfrm>
          <a:prstGeom prst="ellipse">
            <a:avLst/>
          </a:prstGeom>
          <a:gradFill flip="none" rotWithShape="1">
            <a:gsLst>
              <a:gs pos="0">
                <a:srgbClr val="070C1E">
                  <a:alpha val="41000"/>
                </a:srgbClr>
              </a:gs>
              <a:gs pos="100000">
                <a:srgbClr val="070C1E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826809" y="589490"/>
            <a:ext cx="3748206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4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CUBE DIAGRAM</a:t>
            </a:r>
            <a:endParaRPr lang="en-US" sz="40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8104832" y="2052638"/>
            <a:ext cx="3172768" cy="686911"/>
            <a:chOff x="8104830" y="2217738"/>
            <a:chExt cx="2790181" cy="686911"/>
          </a:xfrm>
        </p:grpSpPr>
        <p:sp>
          <p:nvSpPr>
            <p:cNvPr id="23" name="Text Placeholder 2"/>
            <p:cNvSpPr txBox="1">
              <a:spLocks/>
            </p:cNvSpPr>
            <p:nvPr/>
          </p:nvSpPr>
          <p:spPr>
            <a:xfrm>
              <a:off x="8104830" y="2468632"/>
              <a:ext cx="2790181" cy="4360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 is simply dummy text of the printing and typesetting industry.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8104830" y="2217738"/>
              <a:ext cx="1045550" cy="21544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sz="14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LOREM IPSUM</a:t>
              </a:r>
              <a:endParaRPr lang="en-US" sz="14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8104832" y="3055410"/>
            <a:ext cx="3172768" cy="686911"/>
            <a:chOff x="8104830" y="2217738"/>
            <a:chExt cx="2790181" cy="686911"/>
          </a:xfrm>
        </p:grpSpPr>
        <p:sp>
          <p:nvSpPr>
            <p:cNvPr id="31" name="Text Placeholder 2"/>
            <p:cNvSpPr txBox="1">
              <a:spLocks/>
            </p:cNvSpPr>
            <p:nvPr/>
          </p:nvSpPr>
          <p:spPr>
            <a:xfrm>
              <a:off x="8104830" y="2468632"/>
              <a:ext cx="2790181" cy="4360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 is simply dummy text of the printing and typesetting industry.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8104830" y="2217738"/>
              <a:ext cx="1045550" cy="21544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sz="14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LOREM IPSUM</a:t>
              </a:r>
              <a:endParaRPr lang="en-US" sz="14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8104832" y="4058182"/>
            <a:ext cx="3172768" cy="686911"/>
            <a:chOff x="8104830" y="2217738"/>
            <a:chExt cx="2790181" cy="686911"/>
          </a:xfrm>
        </p:grpSpPr>
        <p:sp>
          <p:nvSpPr>
            <p:cNvPr id="34" name="Text Placeholder 2"/>
            <p:cNvSpPr txBox="1">
              <a:spLocks/>
            </p:cNvSpPr>
            <p:nvPr/>
          </p:nvSpPr>
          <p:spPr>
            <a:xfrm>
              <a:off x="8104830" y="2468632"/>
              <a:ext cx="2790181" cy="4360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 is simply dummy text of the printing and typesetting industry.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8104830" y="2217738"/>
              <a:ext cx="1045550" cy="21544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sz="14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LOREM IPSUM</a:t>
              </a:r>
              <a:endParaRPr lang="en-US" sz="14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8104832" y="5060954"/>
            <a:ext cx="3172768" cy="686911"/>
            <a:chOff x="8104830" y="2217738"/>
            <a:chExt cx="2790181" cy="686911"/>
          </a:xfrm>
        </p:grpSpPr>
        <p:sp>
          <p:nvSpPr>
            <p:cNvPr id="37" name="Text Placeholder 2"/>
            <p:cNvSpPr txBox="1">
              <a:spLocks/>
            </p:cNvSpPr>
            <p:nvPr/>
          </p:nvSpPr>
          <p:spPr>
            <a:xfrm>
              <a:off x="8104830" y="2468632"/>
              <a:ext cx="2790181" cy="4360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 is simply dummy text of the printing and typesetting industry.</a:t>
              </a: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8104830" y="2217738"/>
              <a:ext cx="1045550" cy="21544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sz="1400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LOREM IPSUM</a:t>
              </a:r>
              <a:endParaRPr lang="en-US" sz="14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17" name="Group 4"/>
          <p:cNvGrpSpPr>
            <a:grpSpLocks noChangeAspect="1"/>
          </p:cNvGrpSpPr>
          <p:nvPr/>
        </p:nvGrpSpPr>
        <p:grpSpPr bwMode="auto">
          <a:xfrm>
            <a:off x="4799012" y="4895854"/>
            <a:ext cx="2593975" cy="1003300"/>
            <a:chOff x="3023" y="1845"/>
            <a:chExt cx="1634" cy="632"/>
          </a:xfrm>
        </p:grpSpPr>
        <p:sp>
          <p:nvSpPr>
            <p:cNvPr id="18" name="Freeform 5"/>
            <p:cNvSpPr>
              <a:spLocks/>
            </p:cNvSpPr>
            <p:nvPr/>
          </p:nvSpPr>
          <p:spPr bwMode="auto">
            <a:xfrm>
              <a:off x="3023" y="1845"/>
              <a:ext cx="1634" cy="208"/>
            </a:xfrm>
            <a:custGeom>
              <a:avLst/>
              <a:gdLst>
                <a:gd name="T0" fmla="*/ 817 w 1634"/>
                <a:gd name="T1" fmla="*/ 0 h 208"/>
                <a:gd name="T2" fmla="*/ 0 w 1634"/>
                <a:gd name="T3" fmla="*/ 105 h 208"/>
                <a:gd name="T4" fmla="*/ 817 w 1634"/>
                <a:gd name="T5" fmla="*/ 208 h 208"/>
                <a:gd name="T6" fmla="*/ 1634 w 1634"/>
                <a:gd name="T7" fmla="*/ 105 h 208"/>
                <a:gd name="T8" fmla="*/ 817 w 1634"/>
                <a:gd name="T9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34" h="208">
                  <a:moveTo>
                    <a:pt x="817" y="0"/>
                  </a:moveTo>
                  <a:lnTo>
                    <a:pt x="0" y="105"/>
                  </a:lnTo>
                  <a:lnTo>
                    <a:pt x="817" y="208"/>
                  </a:lnTo>
                  <a:lnTo>
                    <a:pt x="1634" y="105"/>
                  </a:lnTo>
                  <a:lnTo>
                    <a:pt x="817" y="0"/>
                  </a:lnTo>
                  <a:close/>
                </a:path>
              </a:pathLst>
            </a:custGeom>
            <a:gradFill>
              <a:gsLst>
                <a:gs pos="100000">
                  <a:srgbClr val="F6443B"/>
                </a:gs>
                <a:gs pos="0">
                  <a:srgbClr val="0C152C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3023" y="1950"/>
              <a:ext cx="817" cy="527"/>
            </a:xfrm>
            <a:custGeom>
              <a:avLst/>
              <a:gdLst>
                <a:gd name="T0" fmla="*/ 817 w 817"/>
                <a:gd name="T1" fmla="*/ 527 h 527"/>
                <a:gd name="T2" fmla="*/ 0 w 817"/>
                <a:gd name="T3" fmla="*/ 422 h 527"/>
                <a:gd name="T4" fmla="*/ 0 w 817"/>
                <a:gd name="T5" fmla="*/ 0 h 527"/>
                <a:gd name="T6" fmla="*/ 817 w 817"/>
                <a:gd name="T7" fmla="*/ 103 h 527"/>
                <a:gd name="T8" fmla="*/ 817 w 817"/>
                <a:gd name="T9" fmla="*/ 527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7" h="527">
                  <a:moveTo>
                    <a:pt x="817" y="527"/>
                  </a:moveTo>
                  <a:lnTo>
                    <a:pt x="0" y="422"/>
                  </a:lnTo>
                  <a:lnTo>
                    <a:pt x="0" y="0"/>
                  </a:lnTo>
                  <a:lnTo>
                    <a:pt x="817" y="103"/>
                  </a:lnTo>
                  <a:lnTo>
                    <a:pt x="817" y="527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F6443B"/>
                </a:gs>
                <a:gs pos="0">
                  <a:srgbClr val="F9857F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3840" y="1950"/>
              <a:ext cx="817" cy="527"/>
            </a:xfrm>
            <a:custGeom>
              <a:avLst/>
              <a:gdLst>
                <a:gd name="T0" fmla="*/ 0 w 817"/>
                <a:gd name="T1" fmla="*/ 527 h 527"/>
                <a:gd name="T2" fmla="*/ 817 w 817"/>
                <a:gd name="T3" fmla="*/ 422 h 527"/>
                <a:gd name="T4" fmla="*/ 817 w 817"/>
                <a:gd name="T5" fmla="*/ 0 h 527"/>
                <a:gd name="T6" fmla="*/ 0 w 817"/>
                <a:gd name="T7" fmla="*/ 103 h 527"/>
                <a:gd name="T8" fmla="*/ 0 w 817"/>
                <a:gd name="T9" fmla="*/ 527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7" h="527">
                  <a:moveTo>
                    <a:pt x="0" y="527"/>
                  </a:moveTo>
                  <a:lnTo>
                    <a:pt x="817" y="422"/>
                  </a:lnTo>
                  <a:lnTo>
                    <a:pt x="817" y="0"/>
                  </a:lnTo>
                  <a:lnTo>
                    <a:pt x="0" y="103"/>
                  </a:lnTo>
                  <a:lnTo>
                    <a:pt x="0" y="527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F6443B"/>
                </a:gs>
                <a:gs pos="0">
                  <a:srgbClr val="F9857F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" name="Group 4"/>
          <p:cNvGrpSpPr>
            <a:grpSpLocks noChangeAspect="1"/>
          </p:cNvGrpSpPr>
          <p:nvPr/>
        </p:nvGrpSpPr>
        <p:grpSpPr bwMode="auto">
          <a:xfrm>
            <a:off x="4799012" y="3893082"/>
            <a:ext cx="2593975" cy="1003300"/>
            <a:chOff x="3023" y="1845"/>
            <a:chExt cx="1634" cy="632"/>
          </a:xfrm>
        </p:grpSpPr>
        <p:sp>
          <p:nvSpPr>
            <p:cNvPr id="14" name="Freeform 5"/>
            <p:cNvSpPr>
              <a:spLocks/>
            </p:cNvSpPr>
            <p:nvPr/>
          </p:nvSpPr>
          <p:spPr bwMode="auto">
            <a:xfrm>
              <a:off x="3023" y="1845"/>
              <a:ext cx="1634" cy="208"/>
            </a:xfrm>
            <a:custGeom>
              <a:avLst/>
              <a:gdLst>
                <a:gd name="T0" fmla="*/ 817 w 1634"/>
                <a:gd name="T1" fmla="*/ 0 h 208"/>
                <a:gd name="T2" fmla="*/ 0 w 1634"/>
                <a:gd name="T3" fmla="*/ 105 h 208"/>
                <a:gd name="T4" fmla="*/ 817 w 1634"/>
                <a:gd name="T5" fmla="*/ 208 h 208"/>
                <a:gd name="T6" fmla="*/ 1634 w 1634"/>
                <a:gd name="T7" fmla="*/ 105 h 208"/>
                <a:gd name="T8" fmla="*/ 817 w 1634"/>
                <a:gd name="T9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34" h="208">
                  <a:moveTo>
                    <a:pt x="817" y="0"/>
                  </a:moveTo>
                  <a:lnTo>
                    <a:pt x="0" y="105"/>
                  </a:lnTo>
                  <a:lnTo>
                    <a:pt x="817" y="208"/>
                  </a:lnTo>
                  <a:lnTo>
                    <a:pt x="1634" y="105"/>
                  </a:lnTo>
                  <a:lnTo>
                    <a:pt x="817" y="0"/>
                  </a:lnTo>
                  <a:close/>
                </a:path>
              </a:pathLst>
            </a:custGeom>
            <a:gradFill>
              <a:gsLst>
                <a:gs pos="100000">
                  <a:srgbClr val="B0F7F4"/>
                </a:gs>
                <a:gs pos="0">
                  <a:srgbClr val="0C152C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3023" y="1950"/>
              <a:ext cx="817" cy="527"/>
            </a:xfrm>
            <a:custGeom>
              <a:avLst/>
              <a:gdLst>
                <a:gd name="T0" fmla="*/ 817 w 817"/>
                <a:gd name="T1" fmla="*/ 527 h 527"/>
                <a:gd name="T2" fmla="*/ 0 w 817"/>
                <a:gd name="T3" fmla="*/ 422 h 527"/>
                <a:gd name="T4" fmla="*/ 0 w 817"/>
                <a:gd name="T5" fmla="*/ 0 h 527"/>
                <a:gd name="T6" fmla="*/ 817 w 817"/>
                <a:gd name="T7" fmla="*/ 103 h 527"/>
                <a:gd name="T8" fmla="*/ 817 w 817"/>
                <a:gd name="T9" fmla="*/ 527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7" h="527">
                  <a:moveTo>
                    <a:pt x="817" y="527"/>
                  </a:moveTo>
                  <a:lnTo>
                    <a:pt x="0" y="422"/>
                  </a:lnTo>
                  <a:lnTo>
                    <a:pt x="0" y="0"/>
                  </a:lnTo>
                  <a:lnTo>
                    <a:pt x="817" y="103"/>
                  </a:lnTo>
                  <a:lnTo>
                    <a:pt x="817" y="527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125680"/>
                </a:gs>
                <a:gs pos="0">
                  <a:srgbClr val="B0F7F4"/>
                </a:gs>
              </a:gsLst>
              <a:lin ang="189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3840" y="1950"/>
              <a:ext cx="817" cy="527"/>
            </a:xfrm>
            <a:custGeom>
              <a:avLst/>
              <a:gdLst>
                <a:gd name="T0" fmla="*/ 0 w 817"/>
                <a:gd name="T1" fmla="*/ 527 h 527"/>
                <a:gd name="T2" fmla="*/ 817 w 817"/>
                <a:gd name="T3" fmla="*/ 422 h 527"/>
                <a:gd name="T4" fmla="*/ 817 w 817"/>
                <a:gd name="T5" fmla="*/ 0 h 527"/>
                <a:gd name="T6" fmla="*/ 0 w 817"/>
                <a:gd name="T7" fmla="*/ 103 h 527"/>
                <a:gd name="T8" fmla="*/ 0 w 817"/>
                <a:gd name="T9" fmla="*/ 527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7" h="527">
                  <a:moveTo>
                    <a:pt x="0" y="527"/>
                  </a:moveTo>
                  <a:lnTo>
                    <a:pt x="817" y="422"/>
                  </a:lnTo>
                  <a:lnTo>
                    <a:pt x="817" y="0"/>
                  </a:lnTo>
                  <a:lnTo>
                    <a:pt x="0" y="103"/>
                  </a:lnTo>
                  <a:lnTo>
                    <a:pt x="0" y="527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125680"/>
                </a:gs>
                <a:gs pos="0">
                  <a:srgbClr val="B0F7F4"/>
                </a:gs>
              </a:gsLst>
              <a:lin ang="189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4799012" y="2890310"/>
            <a:ext cx="2593975" cy="1003300"/>
            <a:chOff x="3023" y="1845"/>
            <a:chExt cx="1634" cy="632"/>
          </a:xfrm>
        </p:grpSpPr>
        <p:sp>
          <p:nvSpPr>
            <p:cNvPr id="10" name="Freeform 5"/>
            <p:cNvSpPr>
              <a:spLocks/>
            </p:cNvSpPr>
            <p:nvPr/>
          </p:nvSpPr>
          <p:spPr bwMode="auto">
            <a:xfrm>
              <a:off x="3023" y="1845"/>
              <a:ext cx="1634" cy="208"/>
            </a:xfrm>
            <a:custGeom>
              <a:avLst/>
              <a:gdLst>
                <a:gd name="T0" fmla="*/ 817 w 1634"/>
                <a:gd name="T1" fmla="*/ 0 h 208"/>
                <a:gd name="T2" fmla="*/ 0 w 1634"/>
                <a:gd name="T3" fmla="*/ 105 h 208"/>
                <a:gd name="T4" fmla="*/ 817 w 1634"/>
                <a:gd name="T5" fmla="*/ 208 h 208"/>
                <a:gd name="T6" fmla="*/ 1634 w 1634"/>
                <a:gd name="T7" fmla="*/ 105 h 208"/>
                <a:gd name="T8" fmla="*/ 817 w 1634"/>
                <a:gd name="T9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34" h="208">
                  <a:moveTo>
                    <a:pt x="817" y="0"/>
                  </a:moveTo>
                  <a:lnTo>
                    <a:pt x="0" y="105"/>
                  </a:lnTo>
                  <a:lnTo>
                    <a:pt x="817" y="208"/>
                  </a:lnTo>
                  <a:lnTo>
                    <a:pt x="1634" y="105"/>
                  </a:lnTo>
                  <a:lnTo>
                    <a:pt x="817" y="0"/>
                  </a:lnTo>
                  <a:close/>
                </a:path>
              </a:pathLst>
            </a:custGeom>
            <a:gradFill>
              <a:gsLst>
                <a:gs pos="100000">
                  <a:srgbClr val="F6443B"/>
                </a:gs>
                <a:gs pos="0">
                  <a:srgbClr val="0C152C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auto">
            <a:xfrm>
              <a:off x="3023" y="1950"/>
              <a:ext cx="817" cy="527"/>
            </a:xfrm>
            <a:custGeom>
              <a:avLst/>
              <a:gdLst>
                <a:gd name="T0" fmla="*/ 817 w 817"/>
                <a:gd name="T1" fmla="*/ 527 h 527"/>
                <a:gd name="T2" fmla="*/ 0 w 817"/>
                <a:gd name="T3" fmla="*/ 422 h 527"/>
                <a:gd name="T4" fmla="*/ 0 w 817"/>
                <a:gd name="T5" fmla="*/ 0 h 527"/>
                <a:gd name="T6" fmla="*/ 817 w 817"/>
                <a:gd name="T7" fmla="*/ 103 h 527"/>
                <a:gd name="T8" fmla="*/ 817 w 817"/>
                <a:gd name="T9" fmla="*/ 527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7" h="527">
                  <a:moveTo>
                    <a:pt x="817" y="527"/>
                  </a:moveTo>
                  <a:lnTo>
                    <a:pt x="0" y="422"/>
                  </a:lnTo>
                  <a:lnTo>
                    <a:pt x="0" y="0"/>
                  </a:lnTo>
                  <a:lnTo>
                    <a:pt x="817" y="103"/>
                  </a:lnTo>
                  <a:lnTo>
                    <a:pt x="817" y="527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F6443B"/>
                </a:gs>
                <a:gs pos="0">
                  <a:srgbClr val="F9857F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3840" y="1950"/>
              <a:ext cx="817" cy="527"/>
            </a:xfrm>
            <a:custGeom>
              <a:avLst/>
              <a:gdLst>
                <a:gd name="T0" fmla="*/ 0 w 817"/>
                <a:gd name="T1" fmla="*/ 527 h 527"/>
                <a:gd name="T2" fmla="*/ 817 w 817"/>
                <a:gd name="T3" fmla="*/ 422 h 527"/>
                <a:gd name="T4" fmla="*/ 817 w 817"/>
                <a:gd name="T5" fmla="*/ 0 h 527"/>
                <a:gd name="T6" fmla="*/ 0 w 817"/>
                <a:gd name="T7" fmla="*/ 103 h 527"/>
                <a:gd name="T8" fmla="*/ 0 w 817"/>
                <a:gd name="T9" fmla="*/ 527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7" h="527">
                  <a:moveTo>
                    <a:pt x="0" y="527"/>
                  </a:moveTo>
                  <a:lnTo>
                    <a:pt x="817" y="422"/>
                  </a:lnTo>
                  <a:lnTo>
                    <a:pt x="817" y="0"/>
                  </a:lnTo>
                  <a:lnTo>
                    <a:pt x="0" y="103"/>
                  </a:lnTo>
                  <a:lnTo>
                    <a:pt x="0" y="527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F6443B"/>
                </a:gs>
                <a:gs pos="0">
                  <a:srgbClr val="F9857F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4799013" y="1887538"/>
            <a:ext cx="2593975" cy="1003300"/>
            <a:chOff x="3023" y="1845"/>
            <a:chExt cx="1634" cy="632"/>
          </a:xfrm>
        </p:grpSpPr>
        <p:sp>
          <p:nvSpPr>
            <p:cNvPr id="5" name="Freeform 5"/>
            <p:cNvSpPr>
              <a:spLocks/>
            </p:cNvSpPr>
            <p:nvPr/>
          </p:nvSpPr>
          <p:spPr bwMode="auto">
            <a:xfrm>
              <a:off x="3023" y="1845"/>
              <a:ext cx="1634" cy="208"/>
            </a:xfrm>
            <a:custGeom>
              <a:avLst/>
              <a:gdLst>
                <a:gd name="T0" fmla="*/ 817 w 1634"/>
                <a:gd name="T1" fmla="*/ 0 h 208"/>
                <a:gd name="T2" fmla="*/ 0 w 1634"/>
                <a:gd name="T3" fmla="*/ 105 h 208"/>
                <a:gd name="T4" fmla="*/ 817 w 1634"/>
                <a:gd name="T5" fmla="*/ 208 h 208"/>
                <a:gd name="T6" fmla="*/ 1634 w 1634"/>
                <a:gd name="T7" fmla="*/ 105 h 208"/>
                <a:gd name="T8" fmla="*/ 817 w 1634"/>
                <a:gd name="T9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34" h="208">
                  <a:moveTo>
                    <a:pt x="817" y="0"/>
                  </a:moveTo>
                  <a:lnTo>
                    <a:pt x="0" y="105"/>
                  </a:lnTo>
                  <a:lnTo>
                    <a:pt x="817" y="208"/>
                  </a:lnTo>
                  <a:lnTo>
                    <a:pt x="1634" y="105"/>
                  </a:lnTo>
                  <a:lnTo>
                    <a:pt x="817" y="0"/>
                  </a:lnTo>
                  <a:close/>
                </a:path>
              </a:pathLst>
            </a:custGeom>
            <a:gradFill>
              <a:gsLst>
                <a:gs pos="100000">
                  <a:srgbClr val="B0F7F4"/>
                </a:gs>
                <a:gs pos="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3023" y="1950"/>
              <a:ext cx="817" cy="527"/>
            </a:xfrm>
            <a:custGeom>
              <a:avLst/>
              <a:gdLst>
                <a:gd name="T0" fmla="*/ 817 w 817"/>
                <a:gd name="T1" fmla="*/ 527 h 527"/>
                <a:gd name="T2" fmla="*/ 0 w 817"/>
                <a:gd name="T3" fmla="*/ 422 h 527"/>
                <a:gd name="T4" fmla="*/ 0 w 817"/>
                <a:gd name="T5" fmla="*/ 0 h 527"/>
                <a:gd name="T6" fmla="*/ 817 w 817"/>
                <a:gd name="T7" fmla="*/ 103 h 527"/>
                <a:gd name="T8" fmla="*/ 817 w 817"/>
                <a:gd name="T9" fmla="*/ 527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7" h="527">
                  <a:moveTo>
                    <a:pt x="817" y="527"/>
                  </a:moveTo>
                  <a:lnTo>
                    <a:pt x="0" y="422"/>
                  </a:lnTo>
                  <a:lnTo>
                    <a:pt x="0" y="0"/>
                  </a:lnTo>
                  <a:lnTo>
                    <a:pt x="817" y="103"/>
                  </a:lnTo>
                  <a:lnTo>
                    <a:pt x="817" y="527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125680"/>
                </a:gs>
                <a:gs pos="0">
                  <a:srgbClr val="B0F7F4"/>
                </a:gs>
              </a:gsLst>
              <a:lin ang="189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3840" y="1950"/>
              <a:ext cx="817" cy="527"/>
            </a:xfrm>
            <a:custGeom>
              <a:avLst/>
              <a:gdLst>
                <a:gd name="T0" fmla="*/ 0 w 817"/>
                <a:gd name="T1" fmla="*/ 527 h 527"/>
                <a:gd name="T2" fmla="*/ 817 w 817"/>
                <a:gd name="T3" fmla="*/ 422 h 527"/>
                <a:gd name="T4" fmla="*/ 817 w 817"/>
                <a:gd name="T5" fmla="*/ 0 h 527"/>
                <a:gd name="T6" fmla="*/ 0 w 817"/>
                <a:gd name="T7" fmla="*/ 103 h 527"/>
                <a:gd name="T8" fmla="*/ 0 w 817"/>
                <a:gd name="T9" fmla="*/ 527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7" h="527">
                  <a:moveTo>
                    <a:pt x="0" y="527"/>
                  </a:moveTo>
                  <a:lnTo>
                    <a:pt x="817" y="422"/>
                  </a:lnTo>
                  <a:lnTo>
                    <a:pt x="817" y="0"/>
                  </a:lnTo>
                  <a:lnTo>
                    <a:pt x="0" y="103"/>
                  </a:lnTo>
                  <a:lnTo>
                    <a:pt x="0" y="527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125680"/>
                </a:gs>
                <a:gs pos="0">
                  <a:srgbClr val="B0F7F4"/>
                </a:gs>
              </a:gsLst>
              <a:lin ang="189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5" name="TextBox 44"/>
          <p:cNvSpPr txBox="1"/>
          <p:nvPr/>
        </p:nvSpPr>
        <p:spPr>
          <a:xfrm>
            <a:off x="6632209" y="2269788"/>
            <a:ext cx="240450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28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A</a:t>
            </a:r>
            <a:endParaRPr lang="en-US" sz="28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6632209" y="3253864"/>
            <a:ext cx="216406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28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B</a:t>
            </a:r>
            <a:endParaRPr lang="en-US" sz="28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6632209" y="4275332"/>
            <a:ext cx="240450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28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A</a:t>
            </a:r>
            <a:endParaRPr lang="en-US" sz="28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6632209" y="5290046"/>
            <a:ext cx="216406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28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B</a:t>
            </a:r>
            <a:endParaRPr lang="en-US" sz="28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49" name="Group 48"/>
          <p:cNvGrpSpPr/>
          <p:nvPr/>
        </p:nvGrpSpPr>
        <p:grpSpPr>
          <a:xfrm>
            <a:off x="5265877" y="2335451"/>
            <a:ext cx="285750" cy="279400"/>
            <a:chOff x="7600950" y="3048000"/>
            <a:chExt cx="285750" cy="279400"/>
          </a:xfrm>
          <a:solidFill>
            <a:schemeClr val="bg1"/>
          </a:solidFill>
          <a:effectLst/>
        </p:grpSpPr>
        <p:sp>
          <p:nvSpPr>
            <p:cNvPr id="50" name="Freeform 3039"/>
            <p:cNvSpPr>
              <a:spLocks/>
            </p:cNvSpPr>
            <p:nvPr/>
          </p:nvSpPr>
          <p:spPr bwMode="auto">
            <a:xfrm>
              <a:off x="7681913" y="3048000"/>
              <a:ext cx="123825" cy="128588"/>
            </a:xfrm>
            <a:custGeom>
              <a:avLst/>
              <a:gdLst>
                <a:gd name="T0" fmla="*/ 263 w 310"/>
                <a:gd name="T1" fmla="*/ 323 h 323"/>
                <a:gd name="T2" fmla="*/ 268 w 310"/>
                <a:gd name="T3" fmla="*/ 323 h 323"/>
                <a:gd name="T4" fmla="*/ 271 w 310"/>
                <a:gd name="T5" fmla="*/ 321 h 323"/>
                <a:gd name="T6" fmla="*/ 274 w 310"/>
                <a:gd name="T7" fmla="*/ 317 h 323"/>
                <a:gd name="T8" fmla="*/ 275 w 310"/>
                <a:gd name="T9" fmla="*/ 314 h 323"/>
                <a:gd name="T10" fmla="*/ 275 w 310"/>
                <a:gd name="T11" fmla="*/ 310 h 323"/>
                <a:gd name="T12" fmla="*/ 274 w 310"/>
                <a:gd name="T13" fmla="*/ 307 h 323"/>
                <a:gd name="T14" fmla="*/ 231 w 310"/>
                <a:gd name="T15" fmla="*/ 207 h 323"/>
                <a:gd name="T16" fmla="*/ 307 w 310"/>
                <a:gd name="T17" fmla="*/ 141 h 323"/>
                <a:gd name="T18" fmla="*/ 309 w 310"/>
                <a:gd name="T19" fmla="*/ 138 h 323"/>
                <a:gd name="T20" fmla="*/ 310 w 310"/>
                <a:gd name="T21" fmla="*/ 135 h 323"/>
                <a:gd name="T22" fmla="*/ 310 w 310"/>
                <a:gd name="T23" fmla="*/ 132 h 323"/>
                <a:gd name="T24" fmla="*/ 310 w 310"/>
                <a:gd name="T25" fmla="*/ 128 h 323"/>
                <a:gd name="T26" fmla="*/ 308 w 310"/>
                <a:gd name="T27" fmla="*/ 125 h 323"/>
                <a:gd name="T28" fmla="*/ 306 w 310"/>
                <a:gd name="T29" fmla="*/ 122 h 323"/>
                <a:gd name="T30" fmla="*/ 302 w 310"/>
                <a:gd name="T31" fmla="*/ 121 h 323"/>
                <a:gd name="T32" fmla="*/ 299 w 310"/>
                <a:gd name="T33" fmla="*/ 120 h 323"/>
                <a:gd name="T34" fmla="*/ 200 w 310"/>
                <a:gd name="T35" fmla="*/ 120 h 323"/>
                <a:gd name="T36" fmla="*/ 167 w 310"/>
                <a:gd name="T37" fmla="*/ 9 h 323"/>
                <a:gd name="T38" fmla="*/ 165 w 310"/>
                <a:gd name="T39" fmla="*/ 6 h 323"/>
                <a:gd name="T40" fmla="*/ 163 w 310"/>
                <a:gd name="T41" fmla="*/ 2 h 323"/>
                <a:gd name="T42" fmla="*/ 159 w 310"/>
                <a:gd name="T43" fmla="*/ 1 h 323"/>
                <a:gd name="T44" fmla="*/ 156 w 310"/>
                <a:gd name="T45" fmla="*/ 0 h 323"/>
                <a:gd name="T46" fmla="*/ 151 w 310"/>
                <a:gd name="T47" fmla="*/ 1 h 323"/>
                <a:gd name="T48" fmla="*/ 149 w 310"/>
                <a:gd name="T49" fmla="*/ 2 h 323"/>
                <a:gd name="T50" fmla="*/ 145 w 310"/>
                <a:gd name="T51" fmla="*/ 6 h 323"/>
                <a:gd name="T52" fmla="*/ 144 w 310"/>
                <a:gd name="T53" fmla="*/ 9 h 323"/>
                <a:gd name="T54" fmla="*/ 111 w 310"/>
                <a:gd name="T55" fmla="*/ 120 h 323"/>
                <a:gd name="T56" fmla="*/ 12 w 310"/>
                <a:gd name="T57" fmla="*/ 120 h 323"/>
                <a:gd name="T58" fmla="*/ 8 w 310"/>
                <a:gd name="T59" fmla="*/ 121 h 323"/>
                <a:gd name="T60" fmla="*/ 5 w 310"/>
                <a:gd name="T61" fmla="*/ 122 h 323"/>
                <a:gd name="T62" fmla="*/ 2 w 310"/>
                <a:gd name="T63" fmla="*/ 125 h 323"/>
                <a:gd name="T64" fmla="*/ 0 w 310"/>
                <a:gd name="T65" fmla="*/ 128 h 323"/>
                <a:gd name="T66" fmla="*/ 0 w 310"/>
                <a:gd name="T67" fmla="*/ 132 h 323"/>
                <a:gd name="T68" fmla="*/ 0 w 310"/>
                <a:gd name="T69" fmla="*/ 135 h 323"/>
                <a:gd name="T70" fmla="*/ 1 w 310"/>
                <a:gd name="T71" fmla="*/ 138 h 323"/>
                <a:gd name="T72" fmla="*/ 4 w 310"/>
                <a:gd name="T73" fmla="*/ 141 h 323"/>
                <a:gd name="T74" fmla="*/ 81 w 310"/>
                <a:gd name="T75" fmla="*/ 205 h 323"/>
                <a:gd name="T76" fmla="*/ 37 w 310"/>
                <a:gd name="T77" fmla="*/ 307 h 323"/>
                <a:gd name="T78" fmla="*/ 36 w 310"/>
                <a:gd name="T79" fmla="*/ 310 h 323"/>
                <a:gd name="T80" fmla="*/ 36 w 310"/>
                <a:gd name="T81" fmla="*/ 314 h 323"/>
                <a:gd name="T82" fmla="*/ 37 w 310"/>
                <a:gd name="T83" fmla="*/ 317 h 323"/>
                <a:gd name="T84" fmla="*/ 39 w 310"/>
                <a:gd name="T85" fmla="*/ 321 h 323"/>
                <a:gd name="T86" fmla="*/ 43 w 310"/>
                <a:gd name="T87" fmla="*/ 323 h 323"/>
                <a:gd name="T88" fmla="*/ 46 w 310"/>
                <a:gd name="T89" fmla="*/ 323 h 323"/>
                <a:gd name="T90" fmla="*/ 51 w 310"/>
                <a:gd name="T91" fmla="*/ 323 h 323"/>
                <a:gd name="T92" fmla="*/ 55 w 310"/>
                <a:gd name="T93" fmla="*/ 322 h 323"/>
                <a:gd name="T94" fmla="*/ 156 w 310"/>
                <a:gd name="T95" fmla="*/ 254 h 323"/>
                <a:gd name="T96" fmla="*/ 257 w 310"/>
                <a:gd name="T97" fmla="*/ 322 h 323"/>
                <a:gd name="T98" fmla="*/ 259 w 310"/>
                <a:gd name="T99" fmla="*/ 323 h 323"/>
                <a:gd name="T100" fmla="*/ 263 w 310"/>
                <a:gd name="T101" fmla="*/ 323 h 323"/>
                <a:gd name="T102" fmla="*/ 263 w 310"/>
                <a:gd name="T103" fmla="*/ 323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0" h="323">
                  <a:moveTo>
                    <a:pt x="263" y="323"/>
                  </a:moveTo>
                  <a:lnTo>
                    <a:pt x="268" y="323"/>
                  </a:lnTo>
                  <a:lnTo>
                    <a:pt x="271" y="321"/>
                  </a:lnTo>
                  <a:lnTo>
                    <a:pt x="274" y="317"/>
                  </a:lnTo>
                  <a:lnTo>
                    <a:pt x="275" y="314"/>
                  </a:lnTo>
                  <a:lnTo>
                    <a:pt x="275" y="310"/>
                  </a:lnTo>
                  <a:lnTo>
                    <a:pt x="274" y="307"/>
                  </a:lnTo>
                  <a:lnTo>
                    <a:pt x="231" y="207"/>
                  </a:lnTo>
                  <a:lnTo>
                    <a:pt x="307" y="141"/>
                  </a:lnTo>
                  <a:lnTo>
                    <a:pt x="309" y="138"/>
                  </a:lnTo>
                  <a:lnTo>
                    <a:pt x="310" y="135"/>
                  </a:lnTo>
                  <a:lnTo>
                    <a:pt x="310" y="132"/>
                  </a:lnTo>
                  <a:lnTo>
                    <a:pt x="310" y="128"/>
                  </a:lnTo>
                  <a:lnTo>
                    <a:pt x="308" y="125"/>
                  </a:lnTo>
                  <a:lnTo>
                    <a:pt x="306" y="122"/>
                  </a:lnTo>
                  <a:lnTo>
                    <a:pt x="302" y="121"/>
                  </a:lnTo>
                  <a:lnTo>
                    <a:pt x="299" y="120"/>
                  </a:lnTo>
                  <a:lnTo>
                    <a:pt x="200" y="120"/>
                  </a:lnTo>
                  <a:lnTo>
                    <a:pt x="167" y="9"/>
                  </a:lnTo>
                  <a:lnTo>
                    <a:pt x="165" y="6"/>
                  </a:lnTo>
                  <a:lnTo>
                    <a:pt x="163" y="2"/>
                  </a:lnTo>
                  <a:lnTo>
                    <a:pt x="159" y="1"/>
                  </a:lnTo>
                  <a:lnTo>
                    <a:pt x="156" y="0"/>
                  </a:lnTo>
                  <a:lnTo>
                    <a:pt x="151" y="1"/>
                  </a:lnTo>
                  <a:lnTo>
                    <a:pt x="149" y="2"/>
                  </a:lnTo>
                  <a:lnTo>
                    <a:pt x="145" y="6"/>
                  </a:lnTo>
                  <a:lnTo>
                    <a:pt x="144" y="9"/>
                  </a:lnTo>
                  <a:lnTo>
                    <a:pt x="111" y="120"/>
                  </a:lnTo>
                  <a:lnTo>
                    <a:pt x="12" y="120"/>
                  </a:lnTo>
                  <a:lnTo>
                    <a:pt x="8" y="121"/>
                  </a:lnTo>
                  <a:lnTo>
                    <a:pt x="5" y="122"/>
                  </a:lnTo>
                  <a:lnTo>
                    <a:pt x="2" y="125"/>
                  </a:lnTo>
                  <a:lnTo>
                    <a:pt x="0" y="128"/>
                  </a:lnTo>
                  <a:lnTo>
                    <a:pt x="0" y="132"/>
                  </a:lnTo>
                  <a:lnTo>
                    <a:pt x="0" y="135"/>
                  </a:lnTo>
                  <a:lnTo>
                    <a:pt x="1" y="138"/>
                  </a:lnTo>
                  <a:lnTo>
                    <a:pt x="4" y="141"/>
                  </a:lnTo>
                  <a:lnTo>
                    <a:pt x="81" y="205"/>
                  </a:lnTo>
                  <a:lnTo>
                    <a:pt x="37" y="307"/>
                  </a:lnTo>
                  <a:lnTo>
                    <a:pt x="36" y="310"/>
                  </a:lnTo>
                  <a:lnTo>
                    <a:pt x="36" y="314"/>
                  </a:lnTo>
                  <a:lnTo>
                    <a:pt x="37" y="317"/>
                  </a:lnTo>
                  <a:lnTo>
                    <a:pt x="39" y="321"/>
                  </a:lnTo>
                  <a:lnTo>
                    <a:pt x="43" y="323"/>
                  </a:lnTo>
                  <a:lnTo>
                    <a:pt x="46" y="323"/>
                  </a:lnTo>
                  <a:lnTo>
                    <a:pt x="51" y="323"/>
                  </a:lnTo>
                  <a:lnTo>
                    <a:pt x="55" y="322"/>
                  </a:lnTo>
                  <a:lnTo>
                    <a:pt x="156" y="254"/>
                  </a:lnTo>
                  <a:lnTo>
                    <a:pt x="257" y="322"/>
                  </a:lnTo>
                  <a:lnTo>
                    <a:pt x="259" y="323"/>
                  </a:lnTo>
                  <a:lnTo>
                    <a:pt x="263" y="323"/>
                  </a:lnTo>
                  <a:lnTo>
                    <a:pt x="263" y="3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040"/>
            <p:cNvSpPr>
              <a:spLocks/>
            </p:cNvSpPr>
            <p:nvPr/>
          </p:nvSpPr>
          <p:spPr bwMode="auto">
            <a:xfrm>
              <a:off x="7762875" y="3200400"/>
              <a:ext cx="123825" cy="127000"/>
            </a:xfrm>
            <a:custGeom>
              <a:avLst/>
              <a:gdLst>
                <a:gd name="T0" fmla="*/ 311 w 312"/>
                <a:gd name="T1" fmla="*/ 127 h 322"/>
                <a:gd name="T2" fmla="*/ 308 w 312"/>
                <a:gd name="T3" fmla="*/ 124 h 322"/>
                <a:gd name="T4" fmla="*/ 306 w 312"/>
                <a:gd name="T5" fmla="*/ 121 h 322"/>
                <a:gd name="T6" fmla="*/ 304 w 312"/>
                <a:gd name="T7" fmla="*/ 120 h 322"/>
                <a:gd name="T8" fmla="*/ 300 w 312"/>
                <a:gd name="T9" fmla="*/ 119 h 322"/>
                <a:gd name="T10" fmla="*/ 200 w 312"/>
                <a:gd name="T11" fmla="*/ 119 h 322"/>
                <a:gd name="T12" fmla="*/ 167 w 312"/>
                <a:gd name="T13" fmla="*/ 8 h 322"/>
                <a:gd name="T14" fmla="*/ 166 w 312"/>
                <a:gd name="T15" fmla="*/ 5 h 322"/>
                <a:gd name="T16" fmla="*/ 163 w 312"/>
                <a:gd name="T17" fmla="*/ 2 h 322"/>
                <a:gd name="T18" fmla="*/ 160 w 312"/>
                <a:gd name="T19" fmla="*/ 0 h 322"/>
                <a:gd name="T20" fmla="*/ 156 w 312"/>
                <a:gd name="T21" fmla="*/ 0 h 322"/>
                <a:gd name="T22" fmla="*/ 153 w 312"/>
                <a:gd name="T23" fmla="*/ 0 h 322"/>
                <a:gd name="T24" fmla="*/ 149 w 312"/>
                <a:gd name="T25" fmla="*/ 2 h 322"/>
                <a:gd name="T26" fmla="*/ 146 w 312"/>
                <a:gd name="T27" fmla="*/ 5 h 322"/>
                <a:gd name="T28" fmla="*/ 144 w 312"/>
                <a:gd name="T29" fmla="*/ 8 h 322"/>
                <a:gd name="T30" fmla="*/ 111 w 312"/>
                <a:gd name="T31" fmla="*/ 119 h 322"/>
                <a:gd name="T32" fmla="*/ 12 w 312"/>
                <a:gd name="T33" fmla="*/ 119 h 322"/>
                <a:gd name="T34" fmla="*/ 9 w 312"/>
                <a:gd name="T35" fmla="*/ 120 h 322"/>
                <a:gd name="T36" fmla="*/ 5 w 312"/>
                <a:gd name="T37" fmla="*/ 121 h 322"/>
                <a:gd name="T38" fmla="*/ 3 w 312"/>
                <a:gd name="T39" fmla="*/ 124 h 322"/>
                <a:gd name="T40" fmla="*/ 0 w 312"/>
                <a:gd name="T41" fmla="*/ 127 h 322"/>
                <a:gd name="T42" fmla="*/ 0 w 312"/>
                <a:gd name="T43" fmla="*/ 131 h 322"/>
                <a:gd name="T44" fmla="*/ 0 w 312"/>
                <a:gd name="T45" fmla="*/ 134 h 322"/>
                <a:gd name="T46" fmla="*/ 2 w 312"/>
                <a:gd name="T47" fmla="*/ 138 h 322"/>
                <a:gd name="T48" fmla="*/ 4 w 312"/>
                <a:gd name="T49" fmla="*/ 140 h 322"/>
                <a:gd name="T50" fmla="*/ 81 w 312"/>
                <a:gd name="T51" fmla="*/ 204 h 322"/>
                <a:gd name="T52" fmla="*/ 37 w 312"/>
                <a:gd name="T53" fmla="*/ 306 h 322"/>
                <a:gd name="T54" fmla="*/ 36 w 312"/>
                <a:gd name="T55" fmla="*/ 309 h 322"/>
                <a:gd name="T56" fmla="*/ 36 w 312"/>
                <a:gd name="T57" fmla="*/ 314 h 322"/>
                <a:gd name="T58" fmla="*/ 38 w 312"/>
                <a:gd name="T59" fmla="*/ 317 h 322"/>
                <a:gd name="T60" fmla="*/ 41 w 312"/>
                <a:gd name="T61" fmla="*/ 320 h 322"/>
                <a:gd name="T62" fmla="*/ 43 w 312"/>
                <a:gd name="T63" fmla="*/ 322 h 322"/>
                <a:gd name="T64" fmla="*/ 48 w 312"/>
                <a:gd name="T65" fmla="*/ 322 h 322"/>
                <a:gd name="T66" fmla="*/ 52 w 312"/>
                <a:gd name="T67" fmla="*/ 322 h 322"/>
                <a:gd name="T68" fmla="*/ 55 w 312"/>
                <a:gd name="T69" fmla="*/ 321 h 322"/>
                <a:gd name="T70" fmla="*/ 156 w 312"/>
                <a:gd name="T71" fmla="*/ 253 h 322"/>
                <a:gd name="T72" fmla="*/ 257 w 312"/>
                <a:gd name="T73" fmla="*/ 321 h 322"/>
                <a:gd name="T74" fmla="*/ 260 w 312"/>
                <a:gd name="T75" fmla="*/ 322 h 322"/>
                <a:gd name="T76" fmla="*/ 263 w 312"/>
                <a:gd name="T77" fmla="*/ 322 h 322"/>
                <a:gd name="T78" fmla="*/ 268 w 312"/>
                <a:gd name="T79" fmla="*/ 322 h 322"/>
                <a:gd name="T80" fmla="*/ 272 w 312"/>
                <a:gd name="T81" fmla="*/ 320 h 322"/>
                <a:gd name="T82" fmla="*/ 274 w 312"/>
                <a:gd name="T83" fmla="*/ 317 h 322"/>
                <a:gd name="T84" fmla="*/ 275 w 312"/>
                <a:gd name="T85" fmla="*/ 314 h 322"/>
                <a:gd name="T86" fmla="*/ 275 w 312"/>
                <a:gd name="T87" fmla="*/ 310 h 322"/>
                <a:gd name="T88" fmla="*/ 275 w 312"/>
                <a:gd name="T89" fmla="*/ 306 h 322"/>
                <a:gd name="T90" fmla="*/ 231 w 312"/>
                <a:gd name="T91" fmla="*/ 207 h 322"/>
                <a:gd name="T92" fmla="*/ 307 w 312"/>
                <a:gd name="T93" fmla="*/ 140 h 322"/>
                <a:gd name="T94" fmla="*/ 310 w 312"/>
                <a:gd name="T95" fmla="*/ 138 h 322"/>
                <a:gd name="T96" fmla="*/ 311 w 312"/>
                <a:gd name="T97" fmla="*/ 134 h 322"/>
                <a:gd name="T98" fmla="*/ 312 w 312"/>
                <a:gd name="T99" fmla="*/ 131 h 322"/>
                <a:gd name="T100" fmla="*/ 311 w 312"/>
                <a:gd name="T101" fmla="*/ 127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2" h="322">
                  <a:moveTo>
                    <a:pt x="311" y="127"/>
                  </a:moveTo>
                  <a:lnTo>
                    <a:pt x="308" y="124"/>
                  </a:lnTo>
                  <a:lnTo>
                    <a:pt x="306" y="121"/>
                  </a:lnTo>
                  <a:lnTo>
                    <a:pt x="304" y="120"/>
                  </a:lnTo>
                  <a:lnTo>
                    <a:pt x="300" y="119"/>
                  </a:lnTo>
                  <a:lnTo>
                    <a:pt x="200" y="119"/>
                  </a:lnTo>
                  <a:lnTo>
                    <a:pt x="167" y="8"/>
                  </a:lnTo>
                  <a:lnTo>
                    <a:pt x="166" y="5"/>
                  </a:lnTo>
                  <a:lnTo>
                    <a:pt x="163" y="2"/>
                  </a:lnTo>
                  <a:lnTo>
                    <a:pt x="160" y="0"/>
                  </a:lnTo>
                  <a:lnTo>
                    <a:pt x="156" y="0"/>
                  </a:lnTo>
                  <a:lnTo>
                    <a:pt x="153" y="0"/>
                  </a:lnTo>
                  <a:lnTo>
                    <a:pt x="149" y="2"/>
                  </a:lnTo>
                  <a:lnTo>
                    <a:pt x="146" y="5"/>
                  </a:lnTo>
                  <a:lnTo>
                    <a:pt x="144" y="8"/>
                  </a:lnTo>
                  <a:lnTo>
                    <a:pt x="111" y="119"/>
                  </a:lnTo>
                  <a:lnTo>
                    <a:pt x="12" y="119"/>
                  </a:lnTo>
                  <a:lnTo>
                    <a:pt x="9" y="120"/>
                  </a:lnTo>
                  <a:lnTo>
                    <a:pt x="5" y="121"/>
                  </a:lnTo>
                  <a:lnTo>
                    <a:pt x="3" y="124"/>
                  </a:lnTo>
                  <a:lnTo>
                    <a:pt x="0" y="127"/>
                  </a:lnTo>
                  <a:lnTo>
                    <a:pt x="0" y="131"/>
                  </a:lnTo>
                  <a:lnTo>
                    <a:pt x="0" y="134"/>
                  </a:lnTo>
                  <a:lnTo>
                    <a:pt x="2" y="138"/>
                  </a:lnTo>
                  <a:lnTo>
                    <a:pt x="4" y="140"/>
                  </a:lnTo>
                  <a:lnTo>
                    <a:pt x="81" y="204"/>
                  </a:lnTo>
                  <a:lnTo>
                    <a:pt x="37" y="306"/>
                  </a:lnTo>
                  <a:lnTo>
                    <a:pt x="36" y="309"/>
                  </a:lnTo>
                  <a:lnTo>
                    <a:pt x="36" y="314"/>
                  </a:lnTo>
                  <a:lnTo>
                    <a:pt x="38" y="317"/>
                  </a:lnTo>
                  <a:lnTo>
                    <a:pt x="41" y="320"/>
                  </a:lnTo>
                  <a:lnTo>
                    <a:pt x="43" y="322"/>
                  </a:lnTo>
                  <a:lnTo>
                    <a:pt x="48" y="322"/>
                  </a:lnTo>
                  <a:lnTo>
                    <a:pt x="52" y="322"/>
                  </a:lnTo>
                  <a:lnTo>
                    <a:pt x="55" y="321"/>
                  </a:lnTo>
                  <a:lnTo>
                    <a:pt x="156" y="253"/>
                  </a:lnTo>
                  <a:lnTo>
                    <a:pt x="257" y="321"/>
                  </a:lnTo>
                  <a:lnTo>
                    <a:pt x="260" y="322"/>
                  </a:lnTo>
                  <a:lnTo>
                    <a:pt x="263" y="322"/>
                  </a:lnTo>
                  <a:lnTo>
                    <a:pt x="268" y="322"/>
                  </a:lnTo>
                  <a:lnTo>
                    <a:pt x="272" y="320"/>
                  </a:lnTo>
                  <a:lnTo>
                    <a:pt x="274" y="317"/>
                  </a:lnTo>
                  <a:lnTo>
                    <a:pt x="275" y="314"/>
                  </a:lnTo>
                  <a:lnTo>
                    <a:pt x="275" y="310"/>
                  </a:lnTo>
                  <a:lnTo>
                    <a:pt x="275" y="306"/>
                  </a:lnTo>
                  <a:lnTo>
                    <a:pt x="231" y="207"/>
                  </a:lnTo>
                  <a:lnTo>
                    <a:pt x="307" y="140"/>
                  </a:lnTo>
                  <a:lnTo>
                    <a:pt x="310" y="138"/>
                  </a:lnTo>
                  <a:lnTo>
                    <a:pt x="311" y="134"/>
                  </a:lnTo>
                  <a:lnTo>
                    <a:pt x="312" y="131"/>
                  </a:lnTo>
                  <a:lnTo>
                    <a:pt x="311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041"/>
            <p:cNvSpPr>
              <a:spLocks/>
            </p:cNvSpPr>
            <p:nvPr/>
          </p:nvSpPr>
          <p:spPr bwMode="auto">
            <a:xfrm>
              <a:off x="7600950" y="3200400"/>
              <a:ext cx="123825" cy="127000"/>
            </a:xfrm>
            <a:custGeom>
              <a:avLst/>
              <a:gdLst>
                <a:gd name="T0" fmla="*/ 300 w 312"/>
                <a:gd name="T1" fmla="*/ 119 h 322"/>
                <a:gd name="T2" fmla="*/ 201 w 312"/>
                <a:gd name="T3" fmla="*/ 119 h 322"/>
                <a:gd name="T4" fmla="*/ 168 w 312"/>
                <a:gd name="T5" fmla="*/ 8 h 322"/>
                <a:gd name="T6" fmla="*/ 167 w 312"/>
                <a:gd name="T7" fmla="*/ 5 h 322"/>
                <a:gd name="T8" fmla="*/ 163 w 312"/>
                <a:gd name="T9" fmla="*/ 2 h 322"/>
                <a:gd name="T10" fmla="*/ 161 w 312"/>
                <a:gd name="T11" fmla="*/ 0 h 322"/>
                <a:gd name="T12" fmla="*/ 156 w 312"/>
                <a:gd name="T13" fmla="*/ 0 h 322"/>
                <a:gd name="T14" fmla="*/ 153 w 312"/>
                <a:gd name="T15" fmla="*/ 0 h 322"/>
                <a:gd name="T16" fmla="*/ 149 w 312"/>
                <a:gd name="T17" fmla="*/ 2 h 322"/>
                <a:gd name="T18" fmla="*/ 147 w 312"/>
                <a:gd name="T19" fmla="*/ 5 h 322"/>
                <a:gd name="T20" fmla="*/ 146 w 312"/>
                <a:gd name="T21" fmla="*/ 8 h 322"/>
                <a:gd name="T22" fmla="*/ 112 w 312"/>
                <a:gd name="T23" fmla="*/ 119 h 322"/>
                <a:gd name="T24" fmla="*/ 13 w 312"/>
                <a:gd name="T25" fmla="*/ 119 h 322"/>
                <a:gd name="T26" fmla="*/ 9 w 312"/>
                <a:gd name="T27" fmla="*/ 120 h 322"/>
                <a:gd name="T28" fmla="*/ 6 w 312"/>
                <a:gd name="T29" fmla="*/ 121 h 322"/>
                <a:gd name="T30" fmla="*/ 4 w 312"/>
                <a:gd name="T31" fmla="*/ 124 h 322"/>
                <a:gd name="T32" fmla="*/ 2 w 312"/>
                <a:gd name="T33" fmla="*/ 127 h 322"/>
                <a:gd name="T34" fmla="*/ 0 w 312"/>
                <a:gd name="T35" fmla="*/ 131 h 322"/>
                <a:gd name="T36" fmla="*/ 2 w 312"/>
                <a:gd name="T37" fmla="*/ 134 h 322"/>
                <a:gd name="T38" fmla="*/ 3 w 312"/>
                <a:gd name="T39" fmla="*/ 138 h 322"/>
                <a:gd name="T40" fmla="*/ 5 w 312"/>
                <a:gd name="T41" fmla="*/ 140 h 322"/>
                <a:gd name="T42" fmla="*/ 82 w 312"/>
                <a:gd name="T43" fmla="*/ 204 h 322"/>
                <a:gd name="T44" fmla="*/ 38 w 312"/>
                <a:gd name="T45" fmla="*/ 306 h 322"/>
                <a:gd name="T46" fmla="*/ 37 w 312"/>
                <a:gd name="T47" fmla="*/ 309 h 322"/>
                <a:gd name="T48" fmla="*/ 37 w 312"/>
                <a:gd name="T49" fmla="*/ 314 h 322"/>
                <a:gd name="T50" fmla="*/ 38 w 312"/>
                <a:gd name="T51" fmla="*/ 317 h 322"/>
                <a:gd name="T52" fmla="*/ 41 w 312"/>
                <a:gd name="T53" fmla="*/ 320 h 322"/>
                <a:gd name="T54" fmla="*/ 44 w 312"/>
                <a:gd name="T55" fmla="*/ 322 h 322"/>
                <a:gd name="T56" fmla="*/ 48 w 312"/>
                <a:gd name="T57" fmla="*/ 322 h 322"/>
                <a:gd name="T58" fmla="*/ 52 w 312"/>
                <a:gd name="T59" fmla="*/ 322 h 322"/>
                <a:gd name="T60" fmla="*/ 55 w 312"/>
                <a:gd name="T61" fmla="*/ 321 h 322"/>
                <a:gd name="T62" fmla="*/ 156 w 312"/>
                <a:gd name="T63" fmla="*/ 253 h 322"/>
                <a:gd name="T64" fmla="*/ 257 w 312"/>
                <a:gd name="T65" fmla="*/ 321 h 322"/>
                <a:gd name="T66" fmla="*/ 261 w 312"/>
                <a:gd name="T67" fmla="*/ 322 h 322"/>
                <a:gd name="T68" fmla="*/ 264 w 312"/>
                <a:gd name="T69" fmla="*/ 322 h 322"/>
                <a:gd name="T70" fmla="*/ 268 w 312"/>
                <a:gd name="T71" fmla="*/ 322 h 322"/>
                <a:gd name="T72" fmla="*/ 272 w 312"/>
                <a:gd name="T73" fmla="*/ 320 h 322"/>
                <a:gd name="T74" fmla="*/ 275 w 312"/>
                <a:gd name="T75" fmla="*/ 317 h 322"/>
                <a:gd name="T76" fmla="*/ 276 w 312"/>
                <a:gd name="T77" fmla="*/ 314 h 322"/>
                <a:gd name="T78" fmla="*/ 276 w 312"/>
                <a:gd name="T79" fmla="*/ 310 h 322"/>
                <a:gd name="T80" fmla="*/ 275 w 312"/>
                <a:gd name="T81" fmla="*/ 306 h 322"/>
                <a:gd name="T82" fmla="*/ 231 w 312"/>
                <a:gd name="T83" fmla="*/ 207 h 322"/>
                <a:gd name="T84" fmla="*/ 308 w 312"/>
                <a:gd name="T85" fmla="*/ 140 h 322"/>
                <a:gd name="T86" fmla="*/ 311 w 312"/>
                <a:gd name="T87" fmla="*/ 138 h 322"/>
                <a:gd name="T88" fmla="*/ 312 w 312"/>
                <a:gd name="T89" fmla="*/ 134 h 322"/>
                <a:gd name="T90" fmla="*/ 312 w 312"/>
                <a:gd name="T91" fmla="*/ 131 h 322"/>
                <a:gd name="T92" fmla="*/ 312 w 312"/>
                <a:gd name="T93" fmla="*/ 127 h 322"/>
                <a:gd name="T94" fmla="*/ 310 w 312"/>
                <a:gd name="T95" fmla="*/ 124 h 322"/>
                <a:gd name="T96" fmla="*/ 307 w 312"/>
                <a:gd name="T97" fmla="*/ 121 h 322"/>
                <a:gd name="T98" fmla="*/ 304 w 312"/>
                <a:gd name="T99" fmla="*/ 120 h 322"/>
                <a:gd name="T100" fmla="*/ 300 w 312"/>
                <a:gd name="T101" fmla="*/ 119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2" h="322">
                  <a:moveTo>
                    <a:pt x="300" y="119"/>
                  </a:moveTo>
                  <a:lnTo>
                    <a:pt x="201" y="119"/>
                  </a:lnTo>
                  <a:lnTo>
                    <a:pt x="168" y="8"/>
                  </a:lnTo>
                  <a:lnTo>
                    <a:pt x="167" y="5"/>
                  </a:lnTo>
                  <a:lnTo>
                    <a:pt x="163" y="2"/>
                  </a:lnTo>
                  <a:lnTo>
                    <a:pt x="161" y="0"/>
                  </a:lnTo>
                  <a:lnTo>
                    <a:pt x="156" y="0"/>
                  </a:lnTo>
                  <a:lnTo>
                    <a:pt x="153" y="0"/>
                  </a:lnTo>
                  <a:lnTo>
                    <a:pt x="149" y="2"/>
                  </a:lnTo>
                  <a:lnTo>
                    <a:pt x="147" y="5"/>
                  </a:lnTo>
                  <a:lnTo>
                    <a:pt x="146" y="8"/>
                  </a:lnTo>
                  <a:lnTo>
                    <a:pt x="112" y="119"/>
                  </a:lnTo>
                  <a:lnTo>
                    <a:pt x="13" y="119"/>
                  </a:lnTo>
                  <a:lnTo>
                    <a:pt x="9" y="120"/>
                  </a:lnTo>
                  <a:lnTo>
                    <a:pt x="6" y="121"/>
                  </a:lnTo>
                  <a:lnTo>
                    <a:pt x="4" y="124"/>
                  </a:lnTo>
                  <a:lnTo>
                    <a:pt x="2" y="127"/>
                  </a:lnTo>
                  <a:lnTo>
                    <a:pt x="0" y="131"/>
                  </a:lnTo>
                  <a:lnTo>
                    <a:pt x="2" y="134"/>
                  </a:lnTo>
                  <a:lnTo>
                    <a:pt x="3" y="138"/>
                  </a:lnTo>
                  <a:lnTo>
                    <a:pt x="5" y="140"/>
                  </a:lnTo>
                  <a:lnTo>
                    <a:pt x="82" y="204"/>
                  </a:lnTo>
                  <a:lnTo>
                    <a:pt x="38" y="306"/>
                  </a:lnTo>
                  <a:lnTo>
                    <a:pt x="37" y="309"/>
                  </a:lnTo>
                  <a:lnTo>
                    <a:pt x="37" y="314"/>
                  </a:lnTo>
                  <a:lnTo>
                    <a:pt x="38" y="317"/>
                  </a:lnTo>
                  <a:lnTo>
                    <a:pt x="41" y="320"/>
                  </a:lnTo>
                  <a:lnTo>
                    <a:pt x="44" y="322"/>
                  </a:lnTo>
                  <a:lnTo>
                    <a:pt x="48" y="322"/>
                  </a:lnTo>
                  <a:lnTo>
                    <a:pt x="52" y="322"/>
                  </a:lnTo>
                  <a:lnTo>
                    <a:pt x="55" y="321"/>
                  </a:lnTo>
                  <a:lnTo>
                    <a:pt x="156" y="253"/>
                  </a:lnTo>
                  <a:lnTo>
                    <a:pt x="257" y="321"/>
                  </a:lnTo>
                  <a:lnTo>
                    <a:pt x="261" y="322"/>
                  </a:lnTo>
                  <a:lnTo>
                    <a:pt x="264" y="322"/>
                  </a:lnTo>
                  <a:lnTo>
                    <a:pt x="268" y="322"/>
                  </a:lnTo>
                  <a:lnTo>
                    <a:pt x="272" y="320"/>
                  </a:lnTo>
                  <a:lnTo>
                    <a:pt x="275" y="317"/>
                  </a:lnTo>
                  <a:lnTo>
                    <a:pt x="276" y="314"/>
                  </a:lnTo>
                  <a:lnTo>
                    <a:pt x="276" y="310"/>
                  </a:lnTo>
                  <a:lnTo>
                    <a:pt x="275" y="306"/>
                  </a:lnTo>
                  <a:lnTo>
                    <a:pt x="231" y="207"/>
                  </a:lnTo>
                  <a:lnTo>
                    <a:pt x="308" y="140"/>
                  </a:lnTo>
                  <a:lnTo>
                    <a:pt x="311" y="138"/>
                  </a:lnTo>
                  <a:lnTo>
                    <a:pt x="312" y="134"/>
                  </a:lnTo>
                  <a:lnTo>
                    <a:pt x="312" y="131"/>
                  </a:lnTo>
                  <a:lnTo>
                    <a:pt x="312" y="127"/>
                  </a:lnTo>
                  <a:lnTo>
                    <a:pt x="310" y="124"/>
                  </a:lnTo>
                  <a:lnTo>
                    <a:pt x="307" y="121"/>
                  </a:lnTo>
                  <a:lnTo>
                    <a:pt x="304" y="120"/>
                  </a:lnTo>
                  <a:lnTo>
                    <a:pt x="30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5265083" y="5382609"/>
            <a:ext cx="287338" cy="220663"/>
            <a:chOff x="1450975" y="2559050"/>
            <a:chExt cx="287338" cy="220663"/>
          </a:xfrm>
          <a:solidFill>
            <a:schemeClr val="bg1"/>
          </a:solidFill>
          <a:effectLst/>
        </p:grpSpPr>
        <p:sp>
          <p:nvSpPr>
            <p:cNvPr id="54" name="Freeform 518"/>
            <p:cNvSpPr>
              <a:spLocks/>
            </p:cNvSpPr>
            <p:nvPr/>
          </p:nvSpPr>
          <p:spPr bwMode="auto">
            <a:xfrm>
              <a:off x="1552575" y="2559050"/>
              <a:ext cx="185738" cy="187325"/>
            </a:xfrm>
            <a:custGeom>
              <a:avLst/>
              <a:gdLst>
                <a:gd name="T0" fmla="*/ 15 w 587"/>
                <a:gd name="T1" fmla="*/ 0 h 588"/>
                <a:gd name="T2" fmla="*/ 9 w 587"/>
                <a:gd name="T3" fmla="*/ 2 h 588"/>
                <a:gd name="T4" fmla="*/ 4 w 587"/>
                <a:gd name="T5" fmla="*/ 5 h 588"/>
                <a:gd name="T6" fmla="*/ 1 w 587"/>
                <a:gd name="T7" fmla="*/ 10 h 588"/>
                <a:gd name="T8" fmla="*/ 0 w 587"/>
                <a:gd name="T9" fmla="*/ 15 h 588"/>
                <a:gd name="T10" fmla="*/ 14 w 587"/>
                <a:gd name="T11" fmla="*/ 453 h 588"/>
                <a:gd name="T12" fmla="*/ 40 w 587"/>
                <a:gd name="T13" fmla="*/ 458 h 588"/>
                <a:gd name="T14" fmla="*/ 64 w 587"/>
                <a:gd name="T15" fmla="*/ 469 h 588"/>
                <a:gd name="T16" fmla="*/ 85 w 587"/>
                <a:gd name="T17" fmla="*/ 483 h 588"/>
                <a:gd name="T18" fmla="*/ 105 w 587"/>
                <a:gd name="T19" fmla="*/ 501 h 588"/>
                <a:gd name="T20" fmla="*/ 119 w 587"/>
                <a:gd name="T21" fmla="*/ 524 h 588"/>
                <a:gd name="T22" fmla="*/ 129 w 587"/>
                <a:gd name="T23" fmla="*/ 548 h 588"/>
                <a:gd name="T24" fmla="*/ 135 w 587"/>
                <a:gd name="T25" fmla="*/ 574 h 588"/>
                <a:gd name="T26" fmla="*/ 286 w 587"/>
                <a:gd name="T27" fmla="*/ 588 h 588"/>
                <a:gd name="T28" fmla="*/ 288 w 587"/>
                <a:gd name="T29" fmla="*/ 560 h 588"/>
                <a:gd name="T30" fmla="*/ 297 w 587"/>
                <a:gd name="T31" fmla="*/ 536 h 588"/>
                <a:gd name="T32" fmla="*/ 308 w 587"/>
                <a:gd name="T33" fmla="*/ 512 h 588"/>
                <a:gd name="T34" fmla="*/ 326 w 587"/>
                <a:gd name="T35" fmla="*/ 492 h 588"/>
                <a:gd name="T36" fmla="*/ 346 w 587"/>
                <a:gd name="T37" fmla="*/ 476 h 588"/>
                <a:gd name="T38" fmla="*/ 369 w 587"/>
                <a:gd name="T39" fmla="*/ 463 h 588"/>
                <a:gd name="T40" fmla="*/ 394 w 587"/>
                <a:gd name="T41" fmla="*/ 455 h 588"/>
                <a:gd name="T42" fmla="*/ 421 w 587"/>
                <a:gd name="T43" fmla="*/ 452 h 588"/>
                <a:gd name="T44" fmla="*/ 449 w 587"/>
                <a:gd name="T45" fmla="*/ 455 h 588"/>
                <a:gd name="T46" fmla="*/ 474 w 587"/>
                <a:gd name="T47" fmla="*/ 463 h 588"/>
                <a:gd name="T48" fmla="*/ 497 w 587"/>
                <a:gd name="T49" fmla="*/ 476 h 588"/>
                <a:gd name="T50" fmla="*/ 517 w 587"/>
                <a:gd name="T51" fmla="*/ 492 h 588"/>
                <a:gd name="T52" fmla="*/ 534 w 587"/>
                <a:gd name="T53" fmla="*/ 512 h 588"/>
                <a:gd name="T54" fmla="*/ 547 w 587"/>
                <a:gd name="T55" fmla="*/ 536 h 588"/>
                <a:gd name="T56" fmla="*/ 554 w 587"/>
                <a:gd name="T57" fmla="*/ 560 h 588"/>
                <a:gd name="T58" fmla="*/ 556 w 587"/>
                <a:gd name="T59" fmla="*/ 588 h 588"/>
                <a:gd name="T60" fmla="*/ 574 w 587"/>
                <a:gd name="T61" fmla="*/ 587 h 588"/>
                <a:gd name="T62" fmla="*/ 580 w 587"/>
                <a:gd name="T63" fmla="*/ 585 h 588"/>
                <a:gd name="T64" fmla="*/ 584 w 587"/>
                <a:gd name="T65" fmla="*/ 582 h 588"/>
                <a:gd name="T66" fmla="*/ 586 w 587"/>
                <a:gd name="T67" fmla="*/ 576 h 588"/>
                <a:gd name="T68" fmla="*/ 587 w 587"/>
                <a:gd name="T69" fmla="*/ 15 h 588"/>
                <a:gd name="T70" fmla="*/ 585 w 587"/>
                <a:gd name="T71" fmla="*/ 10 h 588"/>
                <a:gd name="T72" fmla="*/ 582 w 587"/>
                <a:gd name="T73" fmla="*/ 5 h 588"/>
                <a:gd name="T74" fmla="*/ 578 w 587"/>
                <a:gd name="T75" fmla="*/ 2 h 588"/>
                <a:gd name="T76" fmla="*/ 572 w 587"/>
                <a:gd name="T77" fmla="*/ 0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87" h="588">
                  <a:moveTo>
                    <a:pt x="572" y="0"/>
                  </a:moveTo>
                  <a:lnTo>
                    <a:pt x="15" y="0"/>
                  </a:lnTo>
                  <a:lnTo>
                    <a:pt x="11" y="2"/>
                  </a:lnTo>
                  <a:lnTo>
                    <a:pt x="9" y="2"/>
                  </a:lnTo>
                  <a:lnTo>
                    <a:pt x="6" y="4"/>
                  </a:lnTo>
                  <a:lnTo>
                    <a:pt x="4" y="5"/>
                  </a:lnTo>
                  <a:lnTo>
                    <a:pt x="3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452"/>
                  </a:lnTo>
                  <a:lnTo>
                    <a:pt x="14" y="453"/>
                  </a:lnTo>
                  <a:lnTo>
                    <a:pt x="27" y="455"/>
                  </a:lnTo>
                  <a:lnTo>
                    <a:pt x="40" y="458"/>
                  </a:lnTo>
                  <a:lnTo>
                    <a:pt x="52" y="463"/>
                  </a:lnTo>
                  <a:lnTo>
                    <a:pt x="64" y="469"/>
                  </a:lnTo>
                  <a:lnTo>
                    <a:pt x="76" y="476"/>
                  </a:lnTo>
                  <a:lnTo>
                    <a:pt x="85" y="483"/>
                  </a:lnTo>
                  <a:lnTo>
                    <a:pt x="95" y="492"/>
                  </a:lnTo>
                  <a:lnTo>
                    <a:pt x="105" y="501"/>
                  </a:lnTo>
                  <a:lnTo>
                    <a:pt x="112" y="512"/>
                  </a:lnTo>
                  <a:lnTo>
                    <a:pt x="119" y="524"/>
                  </a:lnTo>
                  <a:lnTo>
                    <a:pt x="125" y="536"/>
                  </a:lnTo>
                  <a:lnTo>
                    <a:pt x="129" y="548"/>
                  </a:lnTo>
                  <a:lnTo>
                    <a:pt x="133" y="560"/>
                  </a:lnTo>
                  <a:lnTo>
                    <a:pt x="135" y="574"/>
                  </a:lnTo>
                  <a:lnTo>
                    <a:pt x="135" y="588"/>
                  </a:lnTo>
                  <a:lnTo>
                    <a:pt x="286" y="588"/>
                  </a:lnTo>
                  <a:lnTo>
                    <a:pt x="286" y="574"/>
                  </a:lnTo>
                  <a:lnTo>
                    <a:pt x="288" y="560"/>
                  </a:lnTo>
                  <a:lnTo>
                    <a:pt x="292" y="548"/>
                  </a:lnTo>
                  <a:lnTo>
                    <a:pt x="297" y="536"/>
                  </a:lnTo>
                  <a:lnTo>
                    <a:pt x="302" y="524"/>
                  </a:lnTo>
                  <a:lnTo>
                    <a:pt x="308" y="512"/>
                  </a:lnTo>
                  <a:lnTo>
                    <a:pt x="317" y="501"/>
                  </a:lnTo>
                  <a:lnTo>
                    <a:pt x="326" y="492"/>
                  </a:lnTo>
                  <a:lnTo>
                    <a:pt x="335" y="483"/>
                  </a:lnTo>
                  <a:lnTo>
                    <a:pt x="346" y="476"/>
                  </a:lnTo>
                  <a:lnTo>
                    <a:pt x="357" y="469"/>
                  </a:lnTo>
                  <a:lnTo>
                    <a:pt x="369" y="463"/>
                  </a:lnTo>
                  <a:lnTo>
                    <a:pt x="381" y="458"/>
                  </a:lnTo>
                  <a:lnTo>
                    <a:pt x="394" y="455"/>
                  </a:lnTo>
                  <a:lnTo>
                    <a:pt x="407" y="453"/>
                  </a:lnTo>
                  <a:lnTo>
                    <a:pt x="421" y="452"/>
                  </a:lnTo>
                  <a:lnTo>
                    <a:pt x="435" y="453"/>
                  </a:lnTo>
                  <a:lnTo>
                    <a:pt x="449" y="455"/>
                  </a:lnTo>
                  <a:lnTo>
                    <a:pt x="462" y="458"/>
                  </a:lnTo>
                  <a:lnTo>
                    <a:pt x="474" y="463"/>
                  </a:lnTo>
                  <a:lnTo>
                    <a:pt x="485" y="469"/>
                  </a:lnTo>
                  <a:lnTo>
                    <a:pt x="497" y="476"/>
                  </a:lnTo>
                  <a:lnTo>
                    <a:pt x="507" y="483"/>
                  </a:lnTo>
                  <a:lnTo>
                    <a:pt x="517" y="492"/>
                  </a:lnTo>
                  <a:lnTo>
                    <a:pt x="526" y="501"/>
                  </a:lnTo>
                  <a:lnTo>
                    <a:pt x="534" y="512"/>
                  </a:lnTo>
                  <a:lnTo>
                    <a:pt x="540" y="524"/>
                  </a:lnTo>
                  <a:lnTo>
                    <a:pt x="547" y="536"/>
                  </a:lnTo>
                  <a:lnTo>
                    <a:pt x="551" y="548"/>
                  </a:lnTo>
                  <a:lnTo>
                    <a:pt x="554" y="560"/>
                  </a:lnTo>
                  <a:lnTo>
                    <a:pt x="556" y="574"/>
                  </a:lnTo>
                  <a:lnTo>
                    <a:pt x="556" y="588"/>
                  </a:lnTo>
                  <a:lnTo>
                    <a:pt x="572" y="588"/>
                  </a:lnTo>
                  <a:lnTo>
                    <a:pt x="574" y="587"/>
                  </a:lnTo>
                  <a:lnTo>
                    <a:pt x="578" y="587"/>
                  </a:lnTo>
                  <a:lnTo>
                    <a:pt x="580" y="585"/>
                  </a:lnTo>
                  <a:lnTo>
                    <a:pt x="582" y="584"/>
                  </a:lnTo>
                  <a:lnTo>
                    <a:pt x="584" y="582"/>
                  </a:lnTo>
                  <a:lnTo>
                    <a:pt x="585" y="579"/>
                  </a:lnTo>
                  <a:lnTo>
                    <a:pt x="586" y="576"/>
                  </a:lnTo>
                  <a:lnTo>
                    <a:pt x="587" y="573"/>
                  </a:lnTo>
                  <a:lnTo>
                    <a:pt x="587" y="15"/>
                  </a:lnTo>
                  <a:lnTo>
                    <a:pt x="586" y="13"/>
                  </a:lnTo>
                  <a:lnTo>
                    <a:pt x="585" y="10"/>
                  </a:lnTo>
                  <a:lnTo>
                    <a:pt x="584" y="8"/>
                  </a:lnTo>
                  <a:lnTo>
                    <a:pt x="582" y="5"/>
                  </a:lnTo>
                  <a:lnTo>
                    <a:pt x="580" y="4"/>
                  </a:lnTo>
                  <a:lnTo>
                    <a:pt x="578" y="2"/>
                  </a:lnTo>
                  <a:lnTo>
                    <a:pt x="574" y="2"/>
                  </a:lnTo>
                  <a:lnTo>
                    <a:pt x="57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19"/>
            <p:cNvSpPr>
              <a:spLocks noEditPoints="1"/>
            </p:cNvSpPr>
            <p:nvPr/>
          </p:nvSpPr>
          <p:spPr bwMode="auto">
            <a:xfrm>
              <a:off x="1450975" y="2606675"/>
              <a:ext cx="92075" cy="115888"/>
            </a:xfrm>
            <a:custGeom>
              <a:avLst/>
              <a:gdLst>
                <a:gd name="T0" fmla="*/ 145 w 287"/>
                <a:gd name="T1" fmla="*/ 121 h 362"/>
                <a:gd name="T2" fmla="*/ 134 w 287"/>
                <a:gd name="T3" fmla="*/ 125 h 362"/>
                <a:gd name="T4" fmla="*/ 127 w 287"/>
                <a:gd name="T5" fmla="*/ 133 h 362"/>
                <a:gd name="T6" fmla="*/ 121 w 287"/>
                <a:gd name="T7" fmla="*/ 143 h 362"/>
                <a:gd name="T8" fmla="*/ 121 w 287"/>
                <a:gd name="T9" fmla="*/ 225 h 362"/>
                <a:gd name="T10" fmla="*/ 120 w 287"/>
                <a:gd name="T11" fmla="*/ 231 h 362"/>
                <a:gd name="T12" fmla="*/ 117 w 287"/>
                <a:gd name="T13" fmla="*/ 236 h 362"/>
                <a:gd name="T14" fmla="*/ 112 w 287"/>
                <a:gd name="T15" fmla="*/ 239 h 362"/>
                <a:gd name="T16" fmla="*/ 106 w 287"/>
                <a:gd name="T17" fmla="*/ 240 h 362"/>
                <a:gd name="T18" fmla="*/ 100 w 287"/>
                <a:gd name="T19" fmla="*/ 239 h 362"/>
                <a:gd name="T20" fmla="*/ 96 w 287"/>
                <a:gd name="T21" fmla="*/ 236 h 362"/>
                <a:gd name="T22" fmla="*/ 92 w 287"/>
                <a:gd name="T23" fmla="*/ 231 h 362"/>
                <a:gd name="T24" fmla="*/ 91 w 287"/>
                <a:gd name="T25" fmla="*/ 225 h 362"/>
                <a:gd name="T26" fmla="*/ 91 w 287"/>
                <a:gd name="T27" fmla="*/ 143 h 362"/>
                <a:gd name="T28" fmla="*/ 93 w 287"/>
                <a:gd name="T29" fmla="*/ 132 h 362"/>
                <a:gd name="T30" fmla="*/ 98 w 287"/>
                <a:gd name="T31" fmla="*/ 121 h 362"/>
                <a:gd name="T32" fmla="*/ 104 w 287"/>
                <a:gd name="T33" fmla="*/ 111 h 362"/>
                <a:gd name="T34" fmla="*/ 113 w 287"/>
                <a:gd name="T35" fmla="*/ 104 h 362"/>
                <a:gd name="T36" fmla="*/ 122 w 287"/>
                <a:gd name="T37" fmla="*/ 97 h 362"/>
                <a:gd name="T38" fmla="*/ 133 w 287"/>
                <a:gd name="T39" fmla="*/ 92 h 362"/>
                <a:gd name="T40" fmla="*/ 145 w 287"/>
                <a:gd name="T41" fmla="*/ 90 h 362"/>
                <a:gd name="T42" fmla="*/ 226 w 287"/>
                <a:gd name="T43" fmla="*/ 90 h 362"/>
                <a:gd name="T44" fmla="*/ 232 w 287"/>
                <a:gd name="T45" fmla="*/ 91 h 362"/>
                <a:gd name="T46" fmla="*/ 237 w 287"/>
                <a:gd name="T47" fmla="*/ 94 h 362"/>
                <a:gd name="T48" fmla="*/ 240 w 287"/>
                <a:gd name="T49" fmla="*/ 98 h 362"/>
                <a:gd name="T50" fmla="*/ 241 w 287"/>
                <a:gd name="T51" fmla="*/ 105 h 362"/>
                <a:gd name="T52" fmla="*/ 240 w 287"/>
                <a:gd name="T53" fmla="*/ 110 h 362"/>
                <a:gd name="T54" fmla="*/ 237 w 287"/>
                <a:gd name="T55" fmla="*/ 116 h 362"/>
                <a:gd name="T56" fmla="*/ 232 w 287"/>
                <a:gd name="T57" fmla="*/ 119 h 362"/>
                <a:gd name="T58" fmla="*/ 226 w 287"/>
                <a:gd name="T59" fmla="*/ 120 h 362"/>
                <a:gd name="T60" fmla="*/ 287 w 287"/>
                <a:gd name="T61" fmla="*/ 304 h 362"/>
                <a:gd name="T62" fmla="*/ 287 w 287"/>
                <a:gd name="T63" fmla="*/ 12 h 362"/>
                <a:gd name="T64" fmla="*/ 284 w 287"/>
                <a:gd name="T65" fmla="*/ 6 h 362"/>
                <a:gd name="T66" fmla="*/ 280 w 287"/>
                <a:gd name="T67" fmla="*/ 2 h 362"/>
                <a:gd name="T68" fmla="*/ 275 w 287"/>
                <a:gd name="T69" fmla="*/ 0 h 362"/>
                <a:gd name="T70" fmla="*/ 136 w 287"/>
                <a:gd name="T71" fmla="*/ 0 h 362"/>
                <a:gd name="T72" fmla="*/ 109 w 287"/>
                <a:gd name="T73" fmla="*/ 2 h 362"/>
                <a:gd name="T74" fmla="*/ 84 w 287"/>
                <a:gd name="T75" fmla="*/ 10 h 362"/>
                <a:gd name="T76" fmla="*/ 60 w 287"/>
                <a:gd name="T77" fmla="*/ 22 h 362"/>
                <a:gd name="T78" fmla="*/ 40 w 287"/>
                <a:gd name="T79" fmla="*/ 39 h 362"/>
                <a:gd name="T80" fmla="*/ 24 w 287"/>
                <a:gd name="T81" fmla="*/ 59 h 362"/>
                <a:gd name="T82" fmla="*/ 11 w 287"/>
                <a:gd name="T83" fmla="*/ 82 h 362"/>
                <a:gd name="T84" fmla="*/ 3 w 287"/>
                <a:gd name="T85" fmla="*/ 108 h 362"/>
                <a:gd name="T86" fmla="*/ 0 w 287"/>
                <a:gd name="T87" fmla="*/ 135 h 362"/>
                <a:gd name="T88" fmla="*/ 196 w 287"/>
                <a:gd name="T89" fmla="*/ 361 h 362"/>
                <a:gd name="T90" fmla="*/ 203 w 287"/>
                <a:gd name="T91" fmla="*/ 362 h 362"/>
                <a:gd name="T92" fmla="*/ 219 w 287"/>
                <a:gd name="T93" fmla="*/ 342 h 362"/>
                <a:gd name="T94" fmla="*/ 239 w 287"/>
                <a:gd name="T95" fmla="*/ 326 h 362"/>
                <a:gd name="T96" fmla="*/ 262 w 287"/>
                <a:gd name="T97" fmla="*/ 312 h 362"/>
                <a:gd name="T98" fmla="*/ 287 w 287"/>
                <a:gd name="T99" fmla="*/ 304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7" h="362">
                  <a:moveTo>
                    <a:pt x="151" y="120"/>
                  </a:moveTo>
                  <a:lnTo>
                    <a:pt x="145" y="121"/>
                  </a:lnTo>
                  <a:lnTo>
                    <a:pt x="140" y="122"/>
                  </a:lnTo>
                  <a:lnTo>
                    <a:pt x="134" y="125"/>
                  </a:lnTo>
                  <a:lnTo>
                    <a:pt x="130" y="128"/>
                  </a:lnTo>
                  <a:lnTo>
                    <a:pt x="127" y="133"/>
                  </a:lnTo>
                  <a:lnTo>
                    <a:pt x="124" y="138"/>
                  </a:lnTo>
                  <a:lnTo>
                    <a:pt x="121" y="143"/>
                  </a:lnTo>
                  <a:lnTo>
                    <a:pt x="121" y="150"/>
                  </a:lnTo>
                  <a:lnTo>
                    <a:pt x="121" y="225"/>
                  </a:lnTo>
                  <a:lnTo>
                    <a:pt x="120" y="228"/>
                  </a:lnTo>
                  <a:lnTo>
                    <a:pt x="120" y="231"/>
                  </a:lnTo>
                  <a:lnTo>
                    <a:pt x="118" y="234"/>
                  </a:lnTo>
                  <a:lnTo>
                    <a:pt x="117" y="236"/>
                  </a:lnTo>
                  <a:lnTo>
                    <a:pt x="115" y="238"/>
                  </a:lnTo>
                  <a:lnTo>
                    <a:pt x="112" y="239"/>
                  </a:lnTo>
                  <a:lnTo>
                    <a:pt x="110" y="240"/>
                  </a:lnTo>
                  <a:lnTo>
                    <a:pt x="106" y="240"/>
                  </a:lnTo>
                  <a:lnTo>
                    <a:pt x="103" y="240"/>
                  </a:lnTo>
                  <a:lnTo>
                    <a:pt x="100" y="239"/>
                  </a:lnTo>
                  <a:lnTo>
                    <a:pt x="98" y="238"/>
                  </a:lnTo>
                  <a:lnTo>
                    <a:pt x="96" y="236"/>
                  </a:lnTo>
                  <a:lnTo>
                    <a:pt x="93" y="234"/>
                  </a:lnTo>
                  <a:lnTo>
                    <a:pt x="92" y="231"/>
                  </a:lnTo>
                  <a:lnTo>
                    <a:pt x="91" y="228"/>
                  </a:lnTo>
                  <a:lnTo>
                    <a:pt x="91" y="225"/>
                  </a:lnTo>
                  <a:lnTo>
                    <a:pt x="91" y="150"/>
                  </a:lnTo>
                  <a:lnTo>
                    <a:pt x="91" y="143"/>
                  </a:lnTo>
                  <a:lnTo>
                    <a:pt x="92" y="138"/>
                  </a:lnTo>
                  <a:lnTo>
                    <a:pt x="93" y="132"/>
                  </a:lnTo>
                  <a:lnTo>
                    <a:pt x="96" y="126"/>
                  </a:lnTo>
                  <a:lnTo>
                    <a:pt x="98" y="121"/>
                  </a:lnTo>
                  <a:lnTo>
                    <a:pt x="101" y="117"/>
                  </a:lnTo>
                  <a:lnTo>
                    <a:pt x="104" y="111"/>
                  </a:lnTo>
                  <a:lnTo>
                    <a:pt x="109" y="107"/>
                  </a:lnTo>
                  <a:lnTo>
                    <a:pt x="113" y="104"/>
                  </a:lnTo>
                  <a:lnTo>
                    <a:pt x="117" y="99"/>
                  </a:lnTo>
                  <a:lnTo>
                    <a:pt x="122" y="97"/>
                  </a:lnTo>
                  <a:lnTo>
                    <a:pt x="128" y="94"/>
                  </a:lnTo>
                  <a:lnTo>
                    <a:pt x="133" y="92"/>
                  </a:lnTo>
                  <a:lnTo>
                    <a:pt x="139" y="91"/>
                  </a:lnTo>
                  <a:lnTo>
                    <a:pt x="145" y="90"/>
                  </a:lnTo>
                  <a:lnTo>
                    <a:pt x="151" y="90"/>
                  </a:lnTo>
                  <a:lnTo>
                    <a:pt x="226" y="90"/>
                  </a:lnTo>
                  <a:lnTo>
                    <a:pt x="230" y="90"/>
                  </a:lnTo>
                  <a:lnTo>
                    <a:pt x="232" y="91"/>
                  </a:lnTo>
                  <a:lnTo>
                    <a:pt x="235" y="92"/>
                  </a:lnTo>
                  <a:lnTo>
                    <a:pt x="237" y="94"/>
                  </a:lnTo>
                  <a:lnTo>
                    <a:pt x="239" y="96"/>
                  </a:lnTo>
                  <a:lnTo>
                    <a:pt x="240" y="98"/>
                  </a:lnTo>
                  <a:lnTo>
                    <a:pt x="241" y="102"/>
                  </a:lnTo>
                  <a:lnTo>
                    <a:pt x="241" y="105"/>
                  </a:lnTo>
                  <a:lnTo>
                    <a:pt x="241" y="108"/>
                  </a:lnTo>
                  <a:lnTo>
                    <a:pt x="240" y="110"/>
                  </a:lnTo>
                  <a:lnTo>
                    <a:pt x="239" y="113"/>
                  </a:lnTo>
                  <a:lnTo>
                    <a:pt x="237" y="116"/>
                  </a:lnTo>
                  <a:lnTo>
                    <a:pt x="235" y="118"/>
                  </a:lnTo>
                  <a:lnTo>
                    <a:pt x="232" y="119"/>
                  </a:lnTo>
                  <a:lnTo>
                    <a:pt x="230" y="120"/>
                  </a:lnTo>
                  <a:lnTo>
                    <a:pt x="226" y="120"/>
                  </a:lnTo>
                  <a:lnTo>
                    <a:pt x="151" y="120"/>
                  </a:lnTo>
                  <a:close/>
                  <a:moveTo>
                    <a:pt x="287" y="304"/>
                  </a:moveTo>
                  <a:lnTo>
                    <a:pt x="287" y="15"/>
                  </a:lnTo>
                  <a:lnTo>
                    <a:pt x="287" y="12"/>
                  </a:lnTo>
                  <a:lnTo>
                    <a:pt x="285" y="8"/>
                  </a:lnTo>
                  <a:lnTo>
                    <a:pt x="284" y="6"/>
                  </a:lnTo>
                  <a:lnTo>
                    <a:pt x="282" y="4"/>
                  </a:lnTo>
                  <a:lnTo>
                    <a:pt x="280" y="2"/>
                  </a:lnTo>
                  <a:lnTo>
                    <a:pt x="278" y="1"/>
                  </a:lnTo>
                  <a:lnTo>
                    <a:pt x="275" y="0"/>
                  </a:lnTo>
                  <a:lnTo>
                    <a:pt x="272" y="0"/>
                  </a:lnTo>
                  <a:lnTo>
                    <a:pt x="136" y="0"/>
                  </a:lnTo>
                  <a:lnTo>
                    <a:pt x="122" y="0"/>
                  </a:lnTo>
                  <a:lnTo>
                    <a:pt x="109" y="2"/>
                  </a:lnTo>
                  <a:lnTo>
                    <a:pt x="96" y="5"/>
                  </a:lnTo>
                  <a:lnTo>
                    <a:pt x="84" y="10"/>
                  </a:lnTo>
                  <a:lnTo>
                    <a:pt x="72" y="16"/>
                  </a:lnTo>
                  <a:lnTo>
                    <a:pt x="60" y="22"/>
                  </a:lnTo>
                  <a:lnTo>
                    <a:pt x="50" y="31"/>
                  </a:lnTo>
                  <a:lnTo>
                    <a:pt x="40" y="39"/>
                  </a:lnTo>
                  <a:lnTo>
                    <a:pt x="31" y="49"/>
                  </a:lnTo>
                  <a:lnTo>
                    <a:pt x="24" y="59"/>
                  </a:lnTo>
                  <a:lnTo>
                    <a:pt x="17" y="71"/>
                  </a:lnTo>
                  <a:lnTo>
                    <a:pt x="11" y="82"/>
                  </a:lnTo>
                  <a:lnTo>
                    <a:pt x="7" y="94"/>
                  </a:lnTo>
                  <a:lnTo>
                    <a:pt x="3" y="108"/>
                  </a:lnTo>
                  <a:lnTo>
                    <a:pt x="1" y="121"/>
                  </a:lnTo>
                  <a:lnTo>
                    <a:pt x="0" y="135"/>
                  </a:lnTo>
                  <a:lnTo>
                    <a:pt x="0" y="361"/>
                  </a:lnTo>
                  <a:lnTo>
                    <a:pt x="196" y="361"/>
                  </a:lnTo>
                  <a:lnTo>
                    <a:pt x="200" y="361"/>
                  </a:lnTo>
                  <a:lnTo>
                    <a:pt x="203" y="362"/>
                  </a:lnTo>
                  <a:lnTo>
                    <a:pt x="210" y="352"/>
                  </a:lnTo>
                  <a:lnTo>
                    <a:pt x="219" y="342"/>
                  </a:lnTo>
                  <a:lnTo>
                    <a:pt x="229" y="333"/>
                  </a:lnTo>
                  <a:lnTo>
                    <a:pt x="239" y="326"/>
                  </a:lnTo>
                  <a:lnTo>
                    <a:pt x="250" y="318"/>
                  </a:lnTo>
                  <a:lnTo>
                    <a:pt x="262" y="312"/>
                  </a:lnTo>
                  <a:lnTo>
                    <a:pt x="274" y="308"/>
                  </a:lnTo>
                  <a:lnTo>
                    <a:pt x="287" y="3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20"/>
            <p:cNvSpPr>
              <a:spLocks/>
            </p:cNvSpPr>
            <p:nvPr/>
          </p:nvSpPr>
          <p:spPr bwMode="auto">
            <a:xfrm>
              <a:off x="1450975" y="2732088"/>
              <a:ext cx="60325" cy="28575"/>
            </a:xfrm>
            <a:custGeom>
              <a:avLst/>
              <a:gdLst>
                <a:gd name="T0" fmla="*/ 0 w 189"/>
                <a:gd name="T1" fmla="*/ 0 h 90"/>
                <a:gd name="T2" fmla="*/ 0 w 189"/>
                <a:gd name="T3" fmla="*/ 75 h 90"/>
                <a:gd name="T4" fmla="*/ 1 w 189"/>
                <a:gd name="T5" fmla="*/ 79 h 90"/>
                <a:gd name="T6" fmla="*/ 2 w 189"/>
                <a:gd name="T7" fmla="*/ 81 h 90"/>
                <a:gd name="T8" fmla="*/ 3 w 189"/>
                <a:gd name="T9" fmla="*/ 84 h 90"/>
                <a:gd name="T10" fmla="*/ 6 w 189"/>
                <a:gd name="T11" fmla="*/ 86 h 90"/>
                <a:gd name="T12" fmla="*/ 8 w 189"/>
                <a:gd name="T13" fmla="*/ 87 h 90"/>
                <a:gd name="T14" fmla="*/ 10 w 189"/>
                <a:gd name="T15" fmla="*/ 89 h 90"/>
                <a:gd name="T16" fmla="*/ 13 w 189"/>
                <a:gd name="T17" fmla="*/ 90 h 90"/>
                <a:gd name="T18" fmla="*/ 15 w 189"/>
                <a:gd name="T19" fmla="*/ 90 h 90"/>
                <a:gd name="T20" fmla="*/ 189 w 189"/>
                <a:gd name="T21" fmla="*/ 90 h 90"/>
                <a:gd name="T22" fmla="*/ 186 w 189"/>
                <a:gd name="T23" fmla="*/ 80 h 90"/>
                <a:gd name="T24" fmla="*/ 184 w 189"/>
                <a:gd name="T25" fmla="*/ 68 h 90"/>
                <a:gd name="T26" fmla="*/ 181 w 189"/>
                <a:gd name="T27" fmla="*/ 57 h 90"/>
                <a:gd name="T28" fmla="*/ 181 w 189"/>
                <a:gd name="T29" fmla="*/ 45 h 90"/>
                <a:gd name="T30" fmla="*/ 181 w 189"/>
                <a:gd name="T31" fmla="*/ 33 h 90"/>
                <a:gd name="T32" fmla="*/ 184 w 189"/>
                <a:gd name="T33" fmla="*/ 22 h 90"/>
                <a:gd name="T34" fmla="*/ 186 w 189"/>
                <a:gd name="T35" fmla="*/ 11 h 90"/>
                <a:gd name="T36" fmla="*/ 189 w 189"/>
                <a:gd name="T37" fmla="*/ 0 h 90"/>
                <a:gd name="T38" fmla="*/ 0 w 189"/>
                <a:gd name="T3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9" h="90">
                  <a:moveTo>
                    <a:pt x="0" y="0"/>
                  </a:moveTo>
                  <a:lnTo>
                    <a:pt x="0" y="75"/>
                  </a:lnTo>
                  <a:lnTo>
                    <a:pt x="1" y="79"/>
                  </a:lnTo>
                  <a:lnTo>
                    <a:pt x="2" y="81"/>
                  </a:lnTo>
                  <a:lnTo>
                    <a:pt x="3" y="84"/>
                  </a:lnTo>
                  <a:lnTo>
                    <a:pt x="6" y="86"/>
                  </a:lnTo>
                  <a:lnTo>
                    <a:pt x="8" y="87"/>
                  </a:lnTo>
                  <a:lnTo>
                    <a:pt x="10" y="89"/>
                  </a:lnTo>
                  <a:lnTo>
                    <a:pt x="13" y="90"/>
                  </a:lnTo>
                  <a:lnTo>
                    <a:pt x="15" y="90"/>
                  </a:lnTo>
                  <a:lnTo>
                    <a:pt x="189" y="90"/>
                  </a:lnTo>
                  <a:lnTo>
                    <a:pt x="186" y="80"/>
                  </a:lnTo>
                  <a:lnTo>
                    <a:pt x="184" y="68"/>
                  </a:lnTo>
                  <a:lnTo>
                    <a:pt x="181" y="57"/>
                  </a:lnTo>
                  <a:lnTo>
                    <a:pt x="181" y="45"/>
                  </a:lnTo>
                  <a:lnTo>
                    <a:pt x="181" y="33"/>
                  </a:lnTo>
                  <a:lnTo>
                    <a:pt x="184" y="22"/>
                  </a:lnTo>
                  <a:lnTo>
                    <a:pt x="186" y="11"/>
                  </a:lnTo>
                  <a:lnTo>
                    <a:pt x="18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21"/>
            <p:cNvSpPr>
              <a:spLocks/>
            </p:cNvSpPr>
            <p:nvPr/>
          </p:nvSpPr>
          <p:spPr bwMode="auto">
            <a:xfrm>
              <a:off x="1652588" y="2711450"/>
              <a:ext cx="66675" cy="68263"/>
            </a:xfrm>
            <a:custGeom>
              <a:avLst/>
              <a:gdLst>
                <a:gd name="T0" fmla="*/ 94 w 210"/>
                <a:gd name="T1" fmla="*/ 1 h 211"/>
                <a:gd name="T2" fmla="*/ 74 w 210"/>
                <a:gd name="T3" fmla="*/ 5 h 211"/>
                <a:gd name="T4" fmla="*/ 55 w 210"/>
                <a:gd name="T5" fmla="*/ 13 h 211"/>
                <a:gd name="T6" fmla="*/ 39 w 210"/>
                <a:gd name="T7" fmla="*/ 25 h 211"/>
                <a:gd name="T8" fmla="*/ 24 w 210"/>
                <a:gd name="T9" fmla="*/ 39 h 211"/>
                <a:gd name="T10" fmla="*/ 13 w 210"/>
                <a:gd name="T11" fmla="*/ 56 h 211"/>
                <a:gd name="T12" fmla="*/ 4 w 210"/>
                <a:gd name="T13" fmla="*/ 75 h 211"/>
                <a:gd name="T14" fmla="*/ 0 w 210"/>
                <a:gd name="T15" fmla="*/ 96 h 211"/>
                <a:gd name="T16" fmla="*/ 0 w 210"/>
                <a:gd name="T17" fmla="*/ 117 h 211"/>
                <a:gd name="T18" fmla="*/ 4 w 210"/>
                <a:gd name="T19" fmla="*/ 137 h 211"/>
                <a:gd name="T20" fmla="*/ 13 w 210"/>
                <a:gd name="T21" fmla="*/ 156 h 211"/>
                <a:gd name="T22" fmla="*/ 24 w 210"/>
                <a:gd name="T23" fmla="*/ 173 h 211"/>
                <a:gd name="T24" fmla="*/ 39 w 210"/>
                <a:gd name="T25" fmla="*/ 187 h 211"/>
                <a:gd name="T26" fmla="*/ 55 w 210"/>
                <a:gd name="T27" fmla="*/ 199 h 211"/>
                <a:gd name="T28" fmla="*/ 74 w 210"/>
                <a:gd name="T29" fmla="*/ 207 h 211"/>
                <a:gd name="T30" fmla="*/ 94 w 210"/>
                <a:gd name="T31" fmla="*/ 210 h 211"/>
                <a:gd name="T32" fmla="*/ 116 w 210"/>
                <a:gd name="T33" fmla="*/ 210 h 211"/>
                <a:gd name="T34" fmla="*/ 136 w 210"/>
                <a:gd name="T35" fmla="*/ 207 h 211"/>
                <a:gd name="T36" fmla="*/ 155 w 210"/>
                <a:gd name="T37" fmla="*/ 199 h 211"/>
                <a:gd name="T38" fmla="*/ 173 w 210"/>
                <a:gd name="T39" fmla="*/ 187 h 211"/>
                <a:gd name="T40" fmla="*/ 187 w 210"/>
                <a:gd name="T41" fmla="*/ 173 h 211"/>
                <a:gd name="T42" fmla="*/ 198 w 210"/>
                <a:gd name="T43" fmla="*/ 156 h 211"/>
                <a:gd name="T44" fmla="*/ 206 w 210"/>
                <a:gd name="T45" fmla="*/ 137 h 211"/>
                <a:gd name="T46" fmla="*/ 210 w 210"/>
                <a:gd name="T47" fmla="*/ 117 h 211"/>
                <a:gd name="T48" fmla="*/ 210 w 210"/>
                <a:gd name="T49" fmla="*/ 96 h 211"/>
                <a:gd name="T50" fmla="*/ 206 w 210"/>
                <a:gd name="T51" fmla="*/ 74 h 211"/>
                <a:gd name="T52" fmla="*/ 198 w 210"/>
                <a:gd name="T53" fmla="*/ 56 h 211"/>
                <a:gd name="T54" fmla="*/ 187 w 210"/>
                <a:gd name="T55" fmla="*/ 39 h 211"/>
                <a:gd name="T56" fmla="*/ 173 w 210"/>
                <a:gd name="T57" fmla="*/ 25 h 211"/>
                <a:gd name="T58" fmla="*/ 155 w 210"/>
                <a:gd name="T59" fmla="*/ 13 h 211"/>
                <a:gd name="T60" fmla="*/ 136 w 210"/>
                <a:gd name="T61" fmla="*/ 5 h 211"/>
                <a:gd name="T62" fmla="*/ 116 w 210"/>
                <a:gd name="T63" fmla="*/ 1 h 211"/>
                <a:gd name="T64" fmla="*/ 105 w 210"/>
                <a:gd name="T65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0" h="211">
                  <a:moveTo>
                    <a:pt x="105" y="0"/>
                  </a:moveTo>
                  <a:lnTo>
                    <a:pt x="94" y="1"/>
                  </a:lnTo>
                  <a:lnTo>
                    <a:pt x="84" y="2"/>
                  </a:lnTo>
                  <a:lnTo>
                    <a:pt x="74" y="5"/>
                  </a:lnTo>
                  <a:lnTo>
                    <a:pt x="64" y="9"/>
                  </a:lnTo>
                  <a:lnTo>
                    <a:pt x="55" y="13"/>
                  </a:lnTo>
                  <a:lnTo>
                    <a:pt x="46" y="18"/>
                  </a:lnTo>
                  <a:lnTo>
                    <a:pt x="39" y="25"/>
                  </a:lnTo>
                  <a:lnTo>
                    <a:pt x="31" y="31"/>
                  </a:lnTo>
                  <a:lnTo>
                    <a:pt x="24" y="39"/>
                  </a:lnTo>
                  <a:lnTo>
                    <a:pt x="18" y="47"/>
                  </a:lnTo>
                  <a:lnTo>
                    <a:pt x="13" y="56"/>
                  </a:lnTo>
                  <a:lnTo>
                    <a:pt x="9" y="64"/>
                  </a:lnTo>
                  <a:lnTo>
                    <a:pt x="4" y="75"/>
                  </a:lnTo>
                  <a:lnTo>
                    <a:pt x="2" y="85"/>
                  </a:lnTo>
                  <a:lnTo>
                    <a:pt x="0" y="96"/>
                  </a:lnTo>
                  <a:lnTo>
                    <a:pt x="0" y="106"/>
                  </a:lnTo>
                  <a:lnTo>
                    <a:pt x="0" y="117"/>
                  </a:lnTo>
                  <a:lnTo>
                    <a:pt x="2" y="127"/>
                  </a:lnTo>
                  <a:lnTo>
                    <a:pt x="4" y="137"/>
                  </a:lnTo>
                  <a:lnTo>
                    <a:pt x="9" y="147"/>
                  </a:lnTo>
                  <a:lnTo>
                    <a:pt x="13" y="156"/>
                  </a:lnTo>
                  <a:lnTo>
                    <a:pt x="18" y="165"/>
                  </a:lnTo>
                  <a:lnTo>
                    <a:pt x="24" y="173"/>
                  </a:lnTo>
                  <a:lnTo>
                    <a:pt x="31" y="180"/>
                  </a:lnTo>
                  <a:lnTo>
                    <a:pt x="39" y="187"/>
                  </a:lnTo>
                  <a:lnTo>
                    <a:pt x="46" y="193"/>
                  </a:lnTo>
                  <a:lnTo>
                    <a:pt x="55" y="199"/>
                  </a:lnTo>
                  <a:lnTo>
                    <a:pt x="64" y="203"/>
                  </a:lnTo>
                  <a:lnTo>
                    <a:pt x="74" y="207"/>
                  </a:lnTo>
                  <a:lnTo>
                    <a:pt x="84" y="209"/>
                  </a:lnTo>
                  <a:lnTo>
                    <a:pt x="94" y="210"/>
                  </a:lnTo>
                  <a:lnTo>
                    <a:pt x="105" y="211"/>
                  </a:lnTo>
                  <a:lnTo>
                    <a:pt x="116" y="210"/>
                  </a:lnTo>
                  <a:lnTo>
                    <a:pt x="127" y="209"/>
                  </a:lnTo>
                  <a:lnTo>
                    <a:pt x="136" y="207"/>
                  </a:lnTo>
                  <a:lnTo>
                    <a:pt x="146" y="203"/>
                  </a:lnTo>
                  <a:lnTo>
                    <a:pt x="155" y="199"/>
                  </a:lnTo>
                  <a:lnTo>
                    <a:pt x="164" y="193"/>
                  </a:lnTo>
                  <a:lnTo>
                    <a:pt x="173" y="187"/>
                  </a:lnTo>
                  <a:lnTo>
                    <a:pt x="180" y="180"/>
                  </a:lnTo>
                  <a:lnTo>
                    <a:pt x="187" y="173"/>
                  </a:lnTo>
                  <a:lnTo>
                    <a:pt x="193" y="165"/>
                  </a:lnTo>
                  <a:lnTo>
                    <a:pt x="198" y="156"/>
                  </a:lnTo>
                  <a:lnTo>
                    <a:pt x="203" y="147"/>
                  </a:lnTo>
                  <a:lnTo>
                    <a:pt x="206" y="137"/>
                  </a:lnTo>
                  <a:lnTo>
                    <a:pt x="208" y="127"/>
                  </a:lnTo>
                  <a:lnTo>
                    <a:pt x="210" y="117"/>
                  </a:lnTo>
                  <a:lnTo>
                    <a:pt x="210" y="106"/>
                  </a:lnTo>
                  <a:lnTo>
                    <a:pt x="210" y="96"/>
                  </a:lnTo>
                  <a:lnTo>
                    <a:pt x="208" y="85"/>
                  </a:lnTo>
                  <a:lnTo>
                    <a:pt x="206" y="74"/>
                  </a:lnTo>
                  <a:lnTo>
                    <a:pt x="203" y="64"/>
                  </a:lnTo>
                  <a:lnTo>
                    <a:pt x="198" y="56"/>
                  </a:lnTo>
                  <a:lnTo>
                    <a:pt x="193" y="47"/>
                  </a:lnTo>
                  <a:lnTo>
                    <a:pt x="187" y="39"/>
                  </a:lnTo>
                  <a:lnTo>
                    <a:pt x="180" y="31"/>
                  </a:lnTo>
                  <a:lnTo>
                    <a:pt x="173" y="25"/>
                  </a:lnTo>
                  <a:lnTo>
                    <a:pt x="164" y="18"/>
                  </a:lnTo>
                  <a:lnTo>
                    <a:pt x="155" y="13"/>
                  </a:lnTo>
                  <a:lnTo>
                    <a:pt x="146" y="9"/>
                  </a:lnTo>
                  <a:lnTo>
                    <a:pt x="136" y="5"/>
                  </a:lnTo>
                  <a:lnTo>
                    <a:pt x="127" y="2"/>
                  </a:lnTo>
                  <a:lnTo>
                    <a:pt x="116" y="1"/>
                  </a:lnTo>
                  <a:lnTo>
                    <a:pt x="105" y="0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22"/>
            <p:cNvSpPr>
              <a:spLocks/>
            </p:cNvSpPr>
            <p:nvPr/>
          </p:nvSpPr>
          <p:spPr bwMode="auto">
            <a:xfrm>
              <a:off x="1519238" y="2711450"/>
              <a:ext cx="66675" cy="68263"/>
            </a:xfrm>
            <a:custGeom>
              <a:avLst/>
              <a:gdLst>
                <a:gd name="T0" fmla="*/ 95 w 211"/>
                <a:gd name="T1" fmla="*/ 1 h 211"/>
                <a:gd name="T2" fmla="*/ 74 w 211"/>
                <a:gd name="T3" fmla="*/ 5 h 211"/>
                <a:gd name="T4" fmla="*/ 55 w 211"/>
                <a:gd name="T5" fmla="*/ 13 h 211"/>
                <a:gd name="T6" fmla="*/ 39 w 211"/>
                <a:gd name="T7" fmla="*/ 25 h 211"/>
                <a:gd name="T8" fmla="*/ 24 w 211"/>
                <a:gd name="T9" fmla="*/ 39 h 211"/>
                <a:gd name="T10" fmla="*/ 13 w 211"/>
                <a:gd name="T11" fmla="*/ 56 h 211"/>
                <a:gd name="T12" fmla="*/ 5 w 211"/>
                <a:gd name="T13" fmla="*/ 75 h 211"/>
                <a:gd name="T14" fmla="*/ 0 w 211"/>
                <a:gd name="T15" fmla="*/ 96 h 211"/>
                <a:gd name="T16" fmla="*/ 0 w 211"/>
                <a:gd name="T17" fmla="*/ 117 h 211"/>
                <a:gd name="T18" fmla="*/ 5 w 211"/>
                <a:gd name="T19" fmla="*/ 137 h 211"/>
                <a:gd name="T20" fmla="*/ 13 w 211"/>
                <a:gd name="T21" fmla="*/ 156 h 211"/>
                <a:gd name="T22" fmla="*/ 24 w 211"/>
                <a:gd name="T23" fmla="*/ 173 h 211"/>
                <a:gd name="T24" fmla="*/ 39 w 211"/>
                <a:gd name="T25" fmla="*/ 187 h 211"/>
                <a:gd name="T26" fmla="*/ 55 w 211"/>
                <a:gd name="T27" fmla="*/ 199 h 211"/>
                <a:gd name="T28" fmla="*/ 74 w 211"/>
                <a:gd name="T29" fmla="*/ 207 h 211"/>
                <a:gd name="T30" fmla="*/ 95 w 211"/>
                <a:gd name="T31" fmla="*/ 210 h 211"/>
                <a:gd name="T32" fmla="*/ 116 w 211"/>
                <a:gd name="T33" fmla="*/ 210 h 211"/>
                <a:gd name="T34" fmla="*/ 137 w 211"/>
                <a:gd name="T35" fmla="*/ 207 h 211"/>
                <a:gd name="T36" fmla="*/ 156 w 211"/>
                <a:gd name="T37" fmla="*/ 199 h 211"/>
                <a:gd name="T38" fmla="*/ 173 w 211"/>
                <a:gd name="T39" fmla="*/ 187 h 211"/>
                <a:gd name="T40" fmla="*/ 187 w 211"/>
                <a:gd name="T41" fmla="*/ 173 h 211"/>
                <a:gd name="T42" fmla="*/ 199 w 211"/>
                <a:gd name="T43" fmla="*/ 156 h 211"/>
                <a:gd name="T44" fmla="*/ 206 w 211"/>
                <a:gd name="T45" fmla="*/ 137 h 211"/>
                <a:gd name="T46" fmla="*/ 211 w 211"/>
                <a:gd name="T47" fmla="*/ 117 h 211"/>
                <a:gd name="T48" fmla="*/ 211 w 211"/>
                <a:gd name="T49" fmla="*/ 96 h 211"/>
                <a:gd name="T50" fmla="*/ 206 w 211"/>
                <a:gd name="T51" fmla="*/ 74 h 211"/>
                <a:gd name="T52" fmla="*/ 199 w 211"/>
                <a:gd name="T53" fmla="*/ 56 h 211"/>
                <a:gd name="T54" fmla="*/ 187 w 211"/>
                <a:gd name="T55" fmla="*/ 39 h 211"/>
                <a:gd name="T56" fmla="*/ 173 w 211"/>
                <a:gd name="T57" fmla="*/ 25 h 211"/>
                <a:gd name="T58" fmla="*/ 156 w 211"/>
                <a:gd name="T59" fmla="*/ 13 h 211"/>
                <a:gd name="T60" fmla="*/ 137 w 211"/>
                <a:gd name="T61" fmla="*/ 5 h 211"/>
                <a:gd name="T62" fmla="*/ 116 w 211"/>
                <a:gd name="T63" fmla="*/ 1 h 211"/>
                <a:gd name="T64" fmla="*/ 106 w 211"/>
                <a:gd name="T65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1" h="211">
                  <a:moveTo>
                    <a:pt x="106" y="0"/>
                  </a:moveTo>
                  <a:lnTo>
                    <a:pt x="95" y="1"/>
                  </a:lnTo>
                  <a:lnTo>
                    <a:pt x="84" y="2"/>
                  </a:lnTo>
                  <a:lnTo>
                    <a:pt x="74" y="5"/>
                  </a:lnTo>
                  <a:lnTo>
                    <a:pt x="65" y="9"/>
                  </a:lnTo>
                  <a:lnTo>
                    <a:pt x="55" y="13"/>
                  </a:lnTo>
                  <a:lnTo>
                    <a:pt x="47" y="18"/>
                  </a:lnTo>
                  <a:lnTo>
                    <a:pt x="39" y="25"/>
                  </a:lnTo>
                  <a:lnTo>
                    <a:pt x="32" y="31"/>
                  </a:lnTo>
                  <a:lnTo>
                    <a:pt x="24" y="39"/>
                  </a:lnTo>
                  <a:lnTo>
                    <a:pt x="19" y="47"/>
                  </a:lnTo>
                  <a:lnTo>
                    <a:pt x="13" y="56"/>
                  </a:lnTo>
                  <a:lnTo>
                    <a:pt x="9" y="64"/>
                  </a:lnTo>
                  <a:lnTo>
                    <a:pt x="5" y="75"/>
                  </a:lnTo>
                  <a:lnTo>
                    <a:pt x="3" y="85"/>
                  </a:lnTo>
                  <a:lnTo>
                    <a:pt x="0" y="96"/>
                  </a:lnTo>
                  <a:lnTo>
                    <a:pt x="0" y="106"/>
                  </a:lnTo>
                  <a:lnTo>
                    <a:pt x="0" y="117"/>
                  </a:lnTo>
                  <a:lnTo>
                    <a:pt x="3" y="127"/>
                  </a:lnTo>
                  <a:lnTo>
                    <a:pt x="5" y="137"/>
                  </a:lnTo>
                  <a:lnTo>
                    <a:pt x="9" y="147"/>
                  </a:lnTo>
                  <a:lnTo>
                    <a:pt x="13" y="156"/>
                  </a:lnTo>
                  <a:lnTo>
                    <a:pt x="19" y="165"/>
                  </a:lnTo>
                  <a:lnTo>
                    <a:pt x="24" y="173"/>
                  </a:lnTo>
                  <a:lnTo>
                    <a:pt x="32" y="180"/>
                  </a:lnTo>
                  <a:lnTo>
                    <a:pt x="39" y="187"/>
                  </a:lnTo>
                  <a:lnTo>
                    <a:pt x="47" y="193"/>
                  </a:lnTo>
                  <a:lnTo>
                    <a:pt x="55" y="199"/>
                  </a:lnTo>
                  <a:lnTo>
                    <a:pt x="65" y="203"/>
                  </a:lnTo>
                  <a:lnTo>
                    <a:pt x="74" y="207"/>
                  </a:lnTo>
                  <a:lnTo>
                    <a:pt x="84" y="209"/>
                  </a:lnTo>
                  <a:lnTo>
                    <a:pt x="95" y="210"/>
                  </a:lnTo>
                  <a:lnTo>
                    <a:pt x="106" y="211"/>
                  </a:lnTo>
                  <a:lnTo>
                    <a:pt x="116" y="210"/>
                  </a:lnTo>
                  <a:lnTo>
                    <a:pt x="127" y="209"/>
                  </a:lnTo>
                  <a:lnTo>
                    <a:pt x="137" y="207"/>
                  </a:lnTo>
                  <a:lnTo>
                    <a:pt x="146" y="203"/>
                  </a:lnTo>
                  <a:lnTo>
                    <a:pt x="156" y="199"/>
                  </a:lnTo>
                  <a:lnTo>
                    <a:pt x="165" y="193"/>
                  </a:lnTo>
                  <a:lnTo>
                    <a:pt x="173" y="187"/>
                  </a:lnTo>
                  <a:lnTo>
                    <a:pt x="181" y="180"/>
                  </a:lnTo>
                  <a:lnTo>
                    <a:pt x="187" y="173"/>
                  </a:lnTo>
                  <a:lnTo>
                    <a:pt x="194" y="165"/>
                  </a:lnTo>
                  <a:lnTo>
                    <a:pt x="199" y="156"/>
                  </a:lnTo>
                  <a:lnTo>
                    <a:pt x="203" y="147"/>
                  </a:lnTo>
                  <a:lnTo>
                    <a:pt x="206" y="137"/>
                  </a:lnTo>
                  <a:lnTo>
                    <a:pt x="209" y="127"/>
                  </a:lnTo>
                  <a:lnTo>
                    <a:pt x="211" y="117"/>
                  </a:lnTo>
                  <a:lnTo>
                    <a:pt x="211" y="106"/>
                  </a:lnTo>
                  <a:lnTo>
                    <a:pt x="211" y="96"/>
                  </a:lnTo>
                  <a:lnTo>
                    <a:pt x="209" y="85"/>
                  </a:lnTo>
                  <a:lnTo>
                    <a:pt x="206" y="74"/>
                  </a:lnTo>
                  <a:lnTo>
                    <a:pt x="203" y="64"/>
                  </a:lnTo>
                  <a:lnTo>
                    <a:pt x="199" y="56"/>
                  </a:lnTo>
                  <a:lnTo>
                    <a:pt x="194" y="47"/>
                  </a:lnTo>
                  <a:lnTo>
                    <a:pt x="187" y="39"/>
                  </a:lnTo>
                  <a:lnTo>
                    <a:pt x="181" y="31"/>
                  </a:lnTo>
                  <a:lnTo>
                    <a:pt x="173" y="25"/>
                  </a:lnTo>
                  <a:lnTo>
                    <a:pt x="165" y="18"/>
                  </a:lnTo>
                  <a:lnTo>
                    <a:pt x="156" y="13"/>
                  </a:lnTo>
                  <a:lnTo>
                    <a:pt x="146" y="9"/>
                  </a:lnTo>
                  <a:lnTo>
                    <a:pt x="137" y="5"/>
                  </a:lnTo>
                  <a:lnTo>
                    <a:pt x="127" y="2"/>
                  </a:lnTo>
                  <a:lnTo>
                    <a:pt x="116" y="1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9" name="Freeform 3391"/>
          <p:cNvSpPr>
            <a:spLocks noEditPoints="1"/>
          </p:cNvSpPr>
          <p:nvPr/>
        </p:nvSpPr>
        <p:spPr bwMode="auto">
          <a:xfrm>
            <a:off x="5265877" y="3332429"/>
            <a:ext cx="285750" cy="285750"/>
          </a:xfrm>
          <a:custGeom>
            <a:avLst/>
            <a:gdLst>
              <a:gd name="T0" fmla="*/ 400 w 721"/>
              <a:gd name="T1" fmla="*/ 502 h 721"/>
              <a:gd name="T2" fmla="*/ 441 w 721"/>
              <a:gd name="T3" fmla="*/ 487 h 721"/>
              <a:gd name="T4" fmla="*/ 456 w 721"/>
              <a:gd name="T5" fmla="*/ 469 h 721"/>
              <a:gd name="T6" fmla="*/ 477 w 721"/>
              <a:gd name="T7" fmla="*/ 475 h 721"/>
              <a:gd name="T8" fmla="*/ 498 w 721"/>
              <a:gd name="T9" fmla="*/ 505 h 721"/>
              <a:gd name="T10" fmla="*/ 361 w 721"/>
              <a:gd name="T11" fmla="*/ 709 h 721"/>
              <a:gd name="T12" fmla="*/ 315 w 721"/>
              <a:gd name="T13" fmla="*/ 654 h 721"/>
              <a:gd name="T14" fmla="*/ 347 w 721"/>
              <a:gd name="T15" fmla="*/ 606 h 721"/>
              <a:gd name="T16" fmla="*/ 365 w 721"/>
              <a:gd name="T17" fmla="*/ 601 h 721"/>
              <a:gd name="T18" fmla="*/ 387 w 721"/>
              <a:gd name="T19" fmla="*/ 623 h 721"/>
              <a:gd name="T20" fmla="*/ 415 w 721"/>
              <a:gd name="T21" fmla="*/ 691 h 721"/>
              <a:gd name="T22" fmla="*/ 225 w 721"/>
              <a:gd name="T23" fmla="*/ 505 h 721"/>
              <a:gd name="T24" fmla="*/ 245 w 721"/>
              <a:gd name="T25" fmla="*/ 477 h 721"/>
              <a:gd name="T26" fmla="*/ 265 w 721"/>
              <a:gd name="T27" fmla="*/ 469 h 721"/>
              <a:gd name="T28" fmla="*/ 280 w 721"/>
              <a:gd name="T29" fmla="*/ 487 h 721"/>
              <a:gd name="T30" fmla="*/ 321 w 721"/>
              <a:gd name="T31" fmla="*/ 502 h 721"/>
              <a:gd name="T32" fmla="*/ 222 w 721"/>
              <a:gd name="T33" fmla="*/ 511 h 721"/>
              <a:gd name="T34" fmla="*/ 397 w 721"/>
              <a:gd name="T35" fmla="*/ 541 h 721"/>
              <a:gd name="T36" fmla="*/ 385 w 721"/>
              <a:gd name="T37" fmla="*/ 565 h 721"/>
              <a:gd name="T38" fmla="*/ 361 w 721"/>
              <a:gd name="T39" fmla="*/ 577 h 721"/>
              <a:gd name="T40" fmla="*/ 335 w 721"/>
              <a:gd name="T41" fmla="*/ 565 h 721"/>
              <a:gd name="T42" fmla="*/ 325 w 721"/>
              <a:gd name="T43" fmla="*/ 541 h 721"/>
              <a:gd name="T44" fmla="*/ 681 w 721"/>
              <a:gd name="T45" fmla="*/ 552 h 721"/>
              <a:gd name="T46" fmla="*/ 633 w 721"/>
              <a:gd name="T47" fmla="*/ 522 h 721"/>
              <a:gd name="T48" fmla="*/ 524 w 721"/>
              <a:gd name="T49" fmla="*/ 477 h 721"/>
              <a:gd name="T50" fmla="*/ 484 w 721"/>
              <a:gd name="T51" fmla="*/ 448 h 721"/>
              <a:gd name="T52" fmla="*/ 457 w 721"/>
              <a:gd name="T53" fmla="*/ 433 h 721"/>
              <a:gd name="T54" fmla="*/ 466 w 721"/>
              <a:gd name="T55" fmla="*/ 366 h 721"/>
              <a:gd name="T56" fmla="*/ 489 w 721"/>
              <a:gd name="T57" fmla="*/ 322 h 721"/>
              <a:gd name="T58" fmla="*/ 504 w 721"/>
              <a:gd name="T59" fmla="*/ 279 h 721"/>
              <a:gd name="T60" fmla="*/ 513 w 721"/>
              <a:gd name="T61" fmla="*/ 247 h 721"/>
              <a:gd name="T62" fmla="*/ 506 w 721"/>
              <a:gd name="T63" fmla="*/ 215 h 721"/>
              <a:gd name="T64" fmla="*/ 501 w 721"/>
              <a:gd name="T65" fmla="*/ 193 h 721"/>
              <a:gd name="T66" fmla="*/ 527 w 721"/>
              <a:gd name="T67" fmla="*/ 102 h 721"/>
              <a:gd name="T68" fmla="*/ 519 w 721"/>
              <a:gd name="T69" fmla="*/ 51 h 721"/>
              <a:gd name="T70" fmla="*/ 493 w 721"/>
              <a:gd name="T71" fmla="*/ 26 h 721"/>
              <a:gd name="T72" fmla="*/ 453 w 721"/>
              <a:gd name="T73" fmla="*/ 9 h 721"/>
              <a:gd name="T74" fmla="*/ 383 w 721"/>
              <a:gd name="T75" fmla="*/ 0 h 721"/>
              <a:gd name="T76" fmla="*/ 311 w 721"/>
              <a:gd name="T77" fmla="*/ 9 h 721"/>
              <a:gd name="T78" fmla="*/ 271 w 721"/>
              <a:gd name="T79" fmla="*/ 32 h 721"/>
              <a:gd name="T80" fmla="*/ 239 w 721"/>
              <a:gd name="T81" fmla="*/ 50 h 721"/>
              <a:gd name="T82" fmla="*/ 222 w 721"/>
              <a:gd name="T83" fmla="*/ 66 h 721"/>
              <a:gd name="T84" fmla="*/ 211 w 721"/>
              <a:gd name="T85" fmla="*/ 95 h 721"/>
              <a:gd name="T86" fmla="*/ 217 w 721"/>
              <a:gd name="T87" fmla="*/ 164 h 721"/>
              <a:gd name="T88" fmla="*/ 227 w 721"/>
              <a:gd name="T89" fmla="*/ 202 h 721"/>
              <a:gd name="T90" fmla="*/ 212 w 721"/>
              <a:gd name="T91" fmla="*/ 230 h 721"/>
              <a:gd name="T92" fmla="*/ 213 w 721"/>
              <a:gd name="T93" fmla="*/ 263 h 721"/>
              <a:gd name="T94" fmla="*/ 229 w 721"/>
              <a:gd name="T95" fmla="*/ 290 h 721"/>
              <a:gd name="T96" fmla="*/ 243 w 721"/>
              <a:gd name="T97" fmla="*/ 348 h 721"/>
              <a:gd name="T98" fmla="*/ 265 w 721"/>
              <a:gd name="T99" fmla="*/ 378 h 721"/>
              <a:gd name="T100" fmla="*/ 249 w 721"/>
              <a:gd name="T101" fmla="*/ 441 h 721"/>
              <a:gd name="T102" fmla="*/ 209 w 721"/>
              <a:gd name="T103" fmla="*/ 473 h 721"/>
              <a:gd name="T104" fmla="*/ 134 w 721"/>
              <a:gd name="T105" fmla="*/ 502 h 721"/>
              <a:gd name="T106" fmla="*/ 50 w 721"/>
              <a:gd name="T107" fmla="*/ 547 h 721"/>
              <a:gd name="T108" fmla="*/ 28 w 721"/>
              <a:gd name="T109" fmla="*/ 573 h 721"/>
              <a:gd name="T110" fmla="*/ 9 w 721"/>
              <a:gd name="T111" fmla="*/ 629 h 721"/>
              <a:gd name="T112" fmla="*/ 0 w 721"/>
              <a:gd name="T113" fmla="*/ 713 h 721"/>
              <a:gd name="T114" fmla="*/ 709 w 721"/>
              <a:gd name="T115" fmla="*/ 721 h 721"/>
              <a:gd name="T116" fmla="*/ 721 w 721"/>
              <a:gd name="T117" fmla="*/ 709 h 721"/>
              <a:gd name="T118" fmla="*/ 709 w 721"/>
              <a:gd name="T119" fmla="*/ 606 h 721"/>
              <a:gd name="T120" fmla="*/ 691 w 721"/>
              <a:gd name="T121" fmla="*/ 564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21" h="721">
                <a:moveTo>
                  <a:pt x="415" y="510"/>
                </a:moveTo>
                <a:lnTo>
                  <a:pt x="415" y="510"/>
                </a:lnTo>
                <a:lnTo>
                  <a:pt x="415" y="510"/>
                </a:lnTo>
                <a:lnTo>
                  <a:pt x="400" y="502"/>
                </a:lnTo>
                <a:lnTo>
                  <a:pt x="414" y="498"/>
                </a:lnTo>
                <a:lnTo>
                  <a:pt x="428" y="493"/>
                </a:lnTo>
                <a:lnTo>
                  <a:pt x="434" y="491"/>
                </a:lnTo>
                <a:lnTo>
                  <a:pt x="441" y="487"/>
                </a:lnTo>
                <a:lnTo>
                  <a:pt x="447" y="482"/>
                </a:lnTo>
                <a:lnTo>
                  <a:pt x="453" y="477"/>
                </a:lnTo>
                <a:lnTo>
                  <a:pt x="456" y="473"/>
                </a:lnTo>
                <a:lnTo>
                  <a:pt x="456" y="469"/>
                </a:lnTo>
                <a:lnTo>
                  <a:pt x="456" y="459"/>
                </a:lnTo>
                <a:lnTo>
                  <a:pt x="464" y="462"/>
                </a:lnTo>
                <a:lnTo>
                  <a:pt x="470" y="469"/>
                </a:lnTo>
                <a:lnTo>
                  <a:pt x="477" y="475"/>
                </a:lnTo>
                <a:lnTo>
                  <a:pt x="483" y="482"/>
                </a:lnTo>
                <a:lnTo>
                  <a:pt x="489" y="489"/>
                </a:lnTo>
                <a:lnTo>
                  <a:pt x="495" y="497"/>
                </a:lnTo>
                <a:lnTo>
                  <a:pt x="498" y="505"/>
                </a:lnTo>
                <a:lnTo>
                  <a:pt x="501" y="511"/>
                </a:lnTo>
                <a:lnTo>
                  <a:pt x="522" y="574"/>
                </a:lnTo>
                <a:lnTo>
                  <a:pt x="415" y="510"/>
                </a:lnTo>
                <a:close/>
                <a:moveTo>
                  <a:pt x="361" y="709"/>
                </a:moveTo>
                <a:lnTo>
                  <a:pt x="293" y="709"/>
                </a:lnTo>
                <a:lnTo>
                  <a:pt x="299" y="691"/>
                </a:lnTo>
                <a:lnTo>
                  <a:pt x="306" y="672"/>
                </a:lnTo>
                <a:lnTo>
                  <a:pt x="315" y="654"/>
                </a:lnTo>
                <a:lnTo>
                  <a:pt x="322" y="637"/>
                </a:lnTo>
                <a:lnTo>
                  <a:pt x="333" y="623"/>
                </a:lnTo>
                <a:lnTo>
                  <a:pt x="342" y="611"/>
                </a:lnTo>
                <a:lnTo>
                  <a:pt x="347" y="606"/>
                </a:lnTo>
                <a:lnTo>
                  <a:pt x="351" y="604"/>
                </a:lnTo>
                <a:lnTo>
                  <a:pt x="356" y="601"/>
                </a:lnTo>
                <a:lnTo>
                  <a:pt x="361" y="601"/>
                </a:lnTo>
                <a:lnTo>
                  <a:pt x="365" y="601"/>
                </a:lnTo>
                <a:lnTo>
                  <a:pt x="370" y="604"/>
                </a:lnTo>
                <a:lnTo>
                  <a:pt x="374" y="606"/>
                </a:lnTo>
                <a:lnTo>
                  <a:pt x="379" y="611"/>
                </a:lnTo>
                <a:lnTo>
                  <a:pt x="387" y="623"/>
                </a:lnTo>
                <a:lnTo>
                  <a:pt x="396" y="637"/>
                </a:lnTo>
                <a:lnTo>
                  <a:pt x="403" y="654"/>
                </a:lnTo>
                <a:lnTo>
                  <a:pt x="410" y="673"/>
                </a:lnTo>
                <a:lnTo>
                  <a:pt x="415" y="691"/>
                </a:lnTo>
                <a:lnTo>
                  <a:pt x="420" y="709"/>
                </a:lnTo>
                <a:lnTo>
                  <a:pt x="361" y="709"/>
                </a:lnTo>
                <a:close/>
                <a:moveTo>
                  <a:pt x="222" y="511"/>
                </a:moveTo>
                <a:lnTo>
                  <a:pt x="225" y="505"/>
                </a:lnTo>
                <a:lnTo>
                  <a:pt x="229" y="497"/>
                </a:lnTo>
                <a:lnTo>
                  <a:pt x="234" y="489"/>
                </a:lnTo>
                <a:lnTo>
                  <a:pt x="239" y="483"/>
                </a:lnTo>
                <a:lnTo>
                  <a:pt x="245" y="477"/>
                </a:lnTo>
                <a:lnTo>
                  <a:pt x="252" y="470"/>
                </a:lnTo>
                <a:lnTo>
                  <a:pt x="258" y="464"/>
                </a:lnTo>
                <a:lnTo>
                  <a:pt x="265" y="460"/>
                </a:lnTo>
                <a:lnTo>
                  <a:pt x="265" y="469"/>
                </a:lnTo>
                <a:lnTo>
                  <a:pt x="265" y="473"/>
                </a:lnTo>
                <a:lnTo>
                  <a:pt x="267" y="477"/>
                </a:lnTo>
                <a:lnTo>
                  <a:pt x="274" y="482"/>
                </a:lnTo>
                <a:lnTo>
                  <a:pt x="280" y="487"/>
                </a:lnTo>
                <a:lnTo>
                  <a:pt x="286" y="491"/>
                </a:lnTo>
                <a:lnTo>
                  <a:pt x="293" y="493"/>
                </a:lnTo>
                <a:lnTo>
                  <a:pt x="307" y="498"/>
                </a:lnTo>
                <a:lnTo>
                  <a:pt x="321" y="502"/>
                </a:lnTo>
                <a:lnTo>
                  <a:pt x="306" y="511"/>
                </a:lnTo>
                <a:lnTo>
                  <a:pt x="306" y="511"/>
                </a:lnTo>
                <a:lnTo>
                  <a:pt x="202" y="574"/>
                </a:lnTo>
                <a:lnTo>
                  <a:pt x="222" y="511"/>
                </a:lnTo>
                <a:close/>
                <a:moveTo>
                  <a:pt x="325" y="528"/>
                </a:moveTo>
                <a:lnTo>
                  <a:pt x="361" y="506"/>
                </a:lnTo>
                <a:lnTo>
                  <a:pt x="397" y="528"/>
                </a:lnTo>
                <a:lnTo>
                  <a:pt x="397" y="541"/>
                </a:lnTo>
                <a:lnTo>
                  <a:pt x="396" y="547"/>
                </a:lnTo>
                <a:lnTo>
                  <a:pt x="393" y="554"/>
                </a:lnTo>
                <a:lnTo>
                  <a:pt x="391" y="560"/>
                </a:lnTo>
                <a:lnTo>
                  <a:pt x="385" y="565"/>
                </a:lnTo>
                <a:lnTo>
                  <a:pt x="380" y="570"/>
                </a:lnTo>
                <a:lnTo>
                  <a:pt x="374" y="573"/>
                </a:lnTo>
                <a:lnTo>
                  <a:pt x="367" y="575"/>
                </a:lnTo>
                <a:lnTo>
                  <a:pt x="361" y="577"/>
                </a:lnTo>
                <a:lnTo>
                  <a:pt x="353" y="575"/>
                </a:lnTo>
                <a:lnTo>
                  <a:pt x="347" y="573"/>
                </a:lnTo>
                <a:lnTo>
                  <a:pt x="340" y="570"/>
                </a:lnTo>
                <a:lnTo>
                  <a:pt x="335" y="565"/>
                </a:lnTo>
                <a:lnTo>
                  <a:pt x="331" y="560"/>
                </a:lnTo>
                <a:lnTo>
                  <a:pt x="328" y="554"/>
                </a:lnTo>
                <a:lnTo>
                  <a:pt x="325" y="547"/>
                </a:lnTo>
                <a:lnTo>
                  <a:pt x="325" y="541"/>
                </a:lnTo>
                <a:lnTo>
                  <a:pt x="325" y="528"/>
                </a:lnTo>
                <a:close/>
                <a:moveTo>
                  <a:pt x="691" y="564"/>
                </a:moveTo>
                <a:lnTo>
                  <a:pt x="686" y="557"/>
                </a:lnTo>
                <a:lnTo>
                  <a:pt x="681" y="552"/>
                </a:lnTo>
                <a:lnTo>
                  <a:pt x="674" y="547"/>
                </a:lnTo>
                <a:lnTo>
                  <a:pt x="668" y="541"/>
                </a:lnTo>
                <a:lnTo>
                  <a:pt x="651" y="531"/>
                </a:lnTo>
                <a:lnTo>
                  <a:pt x="633" y="522"/>
                </a:lnTo>
                <a:lnTo>
                  <a:pt x="591" y="502"/>
                </a:lnTo>
                <a:lnTo>
                  <a:pt x="545" y="484"/>
                </a:lnTo>
                <a:lnTo>
                  <a:pt x="534" y="480"/>
                </a:lnTo>
                <a:lnTo>
                  <a:pt x="524" y="477"/>
                </a:lnTo>
                <a:lnTo>
                  <a:pt x="514" y="473"/>
                </a:lnTo>
                <a:lnTo>
                  <a:pt x="504" y="469"/>
                </a:lnTo>
                <a:lnTo>
                  <a:pt x="495" y="457"/>
                </a:lnTo>
                <a:lnTo>
                  <a:pt x="484" y="448"/>
                </a:lnTo>
                <a:lnTo>
                  <a:pt x="473" y="441"/>
                </a:lnTo>
                <a:lnTo>
                  <a:pt x="462" y="434"/>
                </a:lnTo>
                <a:lnTo>
                  <a:pt x="460" y="433"/>
                </a:lnTo>
                <a:lnTo>
                  <a:pt x="457" y="433"/>
                </a:lnTo>
                <a:lnTo>
                  <a:pt x="456" y="433"/>
                </a:lnTo>
                <a:lnTo>
                  <a:pt x="456" y="378"/>
                </a:lnTo>
                <a:lnTo>
                  <a:pt x="461" y="373"/>
                </a:lnTo>
                <a:lnTo>
                  <a:pt x="466" y="366"/>
                </a:lnTo>
                <a:lnTo>
                  <a:pt x="473" y="358"/>
                </a:lnTo>
                <a:lnTo>
                  <a:pt x="479" y="348"/>
                </a:lnTo>
                <a:lnTo>
                  <a:pt x="484" y="337"/>
                </a:lnTo>
                <a:lnTo>
                  <a:pt x="489" y="322"/>
                </a:lnTo>
                <a:lnTo>
                  <a:pt x="492" y="308"/>
                </a:lnTo>
                <a:lnTo>
                  <a:pt x="495" y="290"/>
                </a:lnTo>
                <a:lnTo>
                  <a:pt x="500" y="285"/>
                </a:lnTo>
                <a:lnTo>
                  <a:pt x="504" y="279"/>
                </a:lnTo>
                <a:lnTo>
                  <a:pt x="507" y="271"/>
                </a:lnTo>
                <a:lnTo>
                  <a:pt x="510" y="262"/>
                </a:lnTo>
                <a:lnTo>
                  <a:pt x="511" y="254"/>
                </a:lnTo>
                <a:lnTo>
                  <a:pt x="513" y="247"/>
                </a:lnTo>
                <a:lnTo>
                  <a:pt x="513" y="238"/>
                </a:lnTo>
                <a:lnTo>
                  <a:pt x="511" y="230"/>
                </a:lnTo>
                <a:lnTo>
                  <a:pt x="510" y="222"/>
                </a:lnTo>
                <a:lnTo>
                  <a:pt x="506" y="215"/>
                </a:lnTo>
                <a:lnTo>
                  <a:pt x="502" y="208"/>
                </a:lnTo>
                <a:lnTo>
                  <a:pt x="497" y="202"/>
                </a:lnTo>
                <a:lnTo>
                  <a:pt x="498" y="198"/>
                </a:lnTo>
                <a:lnTo>
                  <a:pt x="501" y="193"/>
                </a:lnTo>
                <a:lnTo>
                  <a:pt x="510" y="167"/>
                </a:lnTo>
                <a:lnTo>
                  <a:pt x="520" y="135"/>
                </a:lnTo>
                <a:lnTo>
                  <a:pt x="524" y="118"/>
                </a:lnTo>
                <a:lnTo>
                  <a:pt x="527" y="102"/>
                </a:lnTo>
                <a:lnTo>
                  <a:pt x="527" y="85"/>
                </a:lnTo>
                <a:lnTo>
                  <a:pt x="525" y="68"/>
                </a:lnTo>
                <a:lnTo>
                  <a:pt x="523" y="59"/>
                </a:lnTo>
                <a:lnTo>
                  <a:pt x="519" y="51"/>
                </a:lnTo>
                <a:lnTo>
                  <a:pt x="514" y="44"/>
                </a:lnTo>
                <a:lnTo>
                  <a:pt x="509" y="37"/>
                </a:lnTo>
                <a:lnTo>
                  <a:pt x="501" y="31"/>
                </a:lnTo>
                <a:lnTo>
                  <a:pt x="493" y="26"/>
                </a:lnTo>
                <a:lnTo>
                  <a:pt x="484" y="21"/>
                </a:lnTo>
                <a:lnTo>
                  <a:pt x="475" y="16"/>
                </a:lnTo>
                <a:lnTo>
                  <a:pt x="465" y="12"/>
                </a:lnTo>
                <a:lnTo>
                  <a:pt x="453" y="9"/>
                </a:lnTo>
                <a:lnTo>
                  <a:pt x="442" y="7"/>
                </a:lnTo>
                <a:lnTo>
                  <a:pt x="430" y="4"/>
                </a:lnTo>
                <a:lnTo>
                  <a:pt x="407" y="0"/>
                </a:lnTo>
                <a:lnTo>
                  <a:pt x="383" y="0"/>
                </a:lnTo>
                <a:lnTo>
                  <a:pt x="365" y="0"/>
                </a:lnTo>
                <a:lnTo>
                  <a:pt x="347" y="1"/>
                </a:lnTo>
                <a:lnTo>
                  <a:pt x="329" y="5"/>
                </a:lnTo>
                <a:lnTo>
                  <a:pt x="311" y="9"/>
                </a:lnTo>
                <a:lnTo>
                  <a:pt x="295" y="16"/>
                </a:lnTo>
                <a:lnTo>
                  <a:pt x="281" y="23"/>
                </a:lnTo>
                <a:lnTo>
                  <a:pt x="276" y="27"/>
                </a:lnTo>
                <a:lnTo>
                  <a:pt x="271" y="32"/>
                </a:lnTo>
                <a:lnTo>
                  <a:pt x="266" y="37"/>
                </a:lnTo>
                <a:lnTo>
                  <a:pt x="263" y="44"/>
                </a:lnTo>
                <a:lnTo>
                  <a:pt x="251" y="46"/>
                </a:lnTo>
                <a:lnTo>
                  <a:pt x="239" y="50"/>
                </a:lnTo>
                <a:lnTo>
                  <a:pt x="234" y="53"/>
                </a:lnTo>
                <a:lnTo>
                  <a:pt x="230" y="57"/>
                </a:lnTo>
                <a:lnTo>
                  <a:pt x="225" y="60"/>
                </a:lnTo>
                <a:lnTo>
                  <a:pt x="222" y="66"/>
                </a:lnTo>
                <a:lnTo>
                  <a:pt x="217" y="72"/>
                </a:lnTo>
                <a:lnTo>
                  <a:pt x="215" y="78"/>
                </a:lnTo>
                <a:lnTo>
                  <a:pt x="212" y="87"/>
                </a:lnTo>
                <a:lnTo>
                  <a:pt x="211" y="95"/>
                </a:lnTo>
                <a:lnTo>
                  <a:pt x="209" y="112"/>
                </a:lnTo>
                <a:lnTo>
                  <a:pt x="211" y="130"/>
                </a:lnTo>
                <a:lnTo>
                  <a:pt x="213" y="148"/>
                </a:lnTo>
                <a:lnTo>
                  <a:pt x="217" y="164"/>
                </a:lnTo>
                <a:lnTo>
                  <a:pt x="221" y="181"/>
                </a:lnTo>
                <a:lnTo>
                  <a:pt x="225" y="194"/>
                </a:lnTo>
                <a:lnTo>
                  <a:pt x="226" y="198"/>
                </a:lnTo>
                <a:lnTo>
                  <a:pt x="227" y="202"/>
                </a:lnTo>
                <a:lnTo>
                  <a:pt x="222" y="207"/>
                </a:lnTo>
                <a:lnTo>
                  <a:pt x="217" y="215"/>
                </a:lnTo>
                <a:lnTo>
                  <a:pt x="215" y="221"/>
                </a:lnTo>
                <a:lnTo>
                  <a:pt x="212" y="230"/>
                </a:lnTo>
                <a:lnTo>
                  <a:pt x="211" y="238"/>
                </a:lnTo>
                <a:lnTo>
                  <a:pt x="211" y="247"/>
                </a:lnTo>
                <a:lnTo>
                  <a:pt x="212" y="254"/>
                </a:lnTo>
                <a:lnTo>
                  <a:pt x="213" y="263"/>
                </a:lnTo>
                <a:lnTo>
                  <a:pt x="216" y="272"/>
                </a:lnTo>
                <a:lnTo>
                  <a:pt x="220" y="280"/>
                </a:lnTo>
                <a:lnTo>
                  <a:pt x="224" y="285"/>
                </a:lnTo>
                <a:lnTo>
                  <a:pt x="229" y="290"/>
                </a:lnTo>
                <a:lnTo>
                  <a:pt x="230" y="307"/>
                </a:lnTo>
                <a:lnTo>
                  <a:pt x="234" y="322"/>
                </a:lnTo>
                <a:lnTo>
                  <a:pt x="238" y="337"/>
                </a:lnTo>
                <a:lnTo>
                  <a:pt x="243" y="348"/>
                </a:lnTo>
                <a:lnTo>
                  <a:pt x="249" y="358"/>
                </a:lnTo>
                <a:lnTo>
                  <a:pt x="254" y="366"/>
                </a:lnTo>
                <a:lnTo>
                  <a:pt x="260" y="373"/>
                </a:lnTo>
                <a:lnTo>
                  <a:pt x="265" y="378"/>
                </a:lnTo>
                <a:lnTo>
                  <a:pt x="265" y="433"/>
                </a:lnTo>
                <a:lnTo>
                  <a:pt x="262" y="433"/>
                </a:lnTo>
                <a:lnTo>
                  <a:pt x="261" y="434"/>
                </a:lnTo>
                <a:lnTo>
                  <a:pt x="249" y="441"/>
                </a:lnTo>
                <a:lnTo>
                  <a:pt x="239" y="448"/>
                </a:lnTo>
                <a:lnTo>
                  <a:pt x="229" y="457"/>
                </a:lnTo>
                <a:lnTo>
                  <a:pt x="220" y="469"/>
                </a:lnTo>
                <a:lnTo>
                  <a:pt x="209" y="473"/>
                </a:lnTo>
                <a:lnTo>
                  <a:pt x="200" y="477"/>
                </a:lnTo>
                <a:lnTo>
                  <a:pt x="190" y="480"/>
                </a:lnTo>
                <a:lnTo>
                  <a:pt x="181" y="484"/>
                </a:lnTo>
                <a:lnTo>
                  <a:pt x="134" y="502"/>
                </a:lnTo>
                <a:lnTo>
                  <a:pt x="91" y="522"/>
                </a:lnTo>
                <a:lnTo>
                  <a:pt x="73" y="531"/>
                </a:lnTo>
                <a:lnTo>
                  <a:pt x="57" y="541"/>
                </a:lnTo>
                <a:lnTo>
                  <a:pt x="50" y="547"/>
                </a:lnTo>
                <a:lnTo>
                  <a:pt x="44" y="552"/>
                </a:lnTo>
                <a:lnTo>
                  <a:pt x="39" y="557"/>
                </a:lnTo>
                <a:lnTo>
                  <a:pt x="34" y="564"/>
                </a:lnTo>
                <a:lnTo>
                  <a:pt x="28" y="573"/>
                </a:lnTo>
                <a:lnTo>
                  <a:pt x="23" y="583"/>
                </a:lnTo>
                <a:lnTo>
                  <a:pt x="19" y="595"/>
                </a:lnTo>
                <a:lnTo>
                  <a:pt x="16" y="606"/>
                </a:lnTo>
                <a:lnTo>
                  <a:pt x="9" y="629"/>
                </a:lnTo>
                <a:lnTo>
                  <a:pt x="5" y="653"/>
                </a:lnTo>
                <a:lnTo>
                  <a:pt x="1" y="691"/>
                </a:lnTo>
                <a:lnTo>
                  <a:pt x="0" y="709"/>
                </a:lnTo>
                <a:lnTo>
                  <a:pt x="0" y="713"/>
                </a:lnTo>
                <a:lnTo>
                  <a:pt x="4" y="717"/>
                </a:lnTo>
                <a:lnTo>
                  <a:pt x="8" y="719"/>
                </a:lnTo>
                <a:lnTo>
                  <a:pt x="12" y="721"/>
                </a:lnTo>
                <a:lnTo>
                  <a:pt x="709" y="721"/>
                </a:lnTo>
                <a:lnTo>
                  <a:pt x="714" y="719"/>
                </a:lnTo>
                <a:lnTo>
                  <a:pt x="718" y="717"/>
                </a:lnTo>
                <a:lnTo>
                  <a:pt x="721" y="713"/>
                </a:lnTo>
                <a:lnTo>
                  <a:pt x="721" y="709"/>
                </a:lnTo>
                <a:lnTo>
                  <a:pt x="721" y="691"/>
                </a:lnTo>
                <a:lnTo>
                  <a:pt x="718" y="653"/>
                </a:lnTo>
                <a:lnTo>
                  <a:pt x="714" y="629"/>
                </a:lnTo>
                <a:lnTo>
                  <a:pt x="709" y="606"/>
                </a:lnTo>
                <a:lnTo>
                  <a:pt x="705" y="595"/>
                </a:lnTo>
                <a:lnTo>
                  <a:pt x="701" y="583"/>
                </a:lnTo>
                <a:lnTo>
                  <a:pt x="696" y="573"/>
                </a:lnTo>
                <a:lnTo>
                  <a:pt x="691" y="5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Freeform 4344"/>
          <p:cNvSpPr>
            <a:spLocks/>
          </p:cNvSpPr>
          <p:nvPr/>
        </p:nvSpPr>
        <p:spPr bwMode="auto">
          <a:xfrm>
            <a:off x="5268258" y="4316557"/>
            <a:ext cx="280988" cy="280988"/>
          </a:xfrm>
          <a:custGeom>
            <a:avLst/>
            <a:gdLst>
              <a:gd name="T0" fmla="*/ 853 w 886"/>
              <a:gd name="T1" fmla="*/ 137 h 886"/>
              <a:gd name="T2" fmla="*/ 842 w 886"/>
              <a:gd name="T3" fmla="*/ 134 h 886"/>
              <a:gd name="T4" fmla="*/ 833 w 886"/>
              <a:gd name="T5" fmla="*/ 138 h 886"/>
              <a:gd name="T6" fmla="*/ 646 w 886"/>
              <a:gd name="T7" fmla="*/ 172 h 886"/>
              <a:gd name="T8" fmla="*/ 754 w 886"/>
              <a:gd name="T9" fmla="*/ 46 h 886"/>
              <a:gd name="T10" fmla="*/ 754 w 886"/>
              <a:gd name="T11" fmla="*/ 37 h 886"/>
              <a:gd name="T12" fmla="*/ 747 w 886"/>
              <a:gd name="T13" fmla="*/ 29 h 886"/>
              <a:gd name="T14" fmla="*/ 704 w 886"/>
              <a:gd name="T15" fmla="*/ 12 h 886"/>
              <a:gd name="T16" fmla="*/ 659 w 886"/>
              <a:gd name="T17" fmla="*/ 2 h 886"/>
              <a:gd name="T18" fmla="*/ 615 w 886"/>
              <a:gd name="T19" fmla="*/ 0 h 886"/>
              <a:gd name="T20" fmla="*/ 577 w 886"/>
              <a:gd name="T21" fmla="*/ 6 h 886"/>
              <a:gd name="T22" fmla="*/ 539 w 886"/>
              <a:gd name="T23" fmla="*/ 15 h 886"/>
              <a:gd name="T24" fmla="*/ 505 w 886"/>
              <a:gd name="T25" fmla="*/ 31 h 886"/>
              <a:gd name="T26" fmla="*/ 473 w 886"/>
              <a:gd name="T27" fmla="*/ 52 h 886"/>
              <a:gd name="T28" fmla="*/ 443 w 886"/>
              <a:gd name="T29" fmla="*/ 76 h 886"/>
              <a:gd name="T30" fmla="*/ 405 w 886"/>
              <a:gd name="T31" fmla="*/ 124 h 886"/>
              <a:gd name="T32" fmla="*/ 380 w 886"/>
              <a:gd name="T33" fmla="*/ 178 h 886"/>
              <a:gd name="T34" fmla="*/ 368 w 886"/>
              <a:gd name="T35" fmla="*/ 235 h 886"/>
              <a:gd name="T36" fmla="*/ 368 w 886"/>
              <a:gd name="T37" fmla="*/ 293 h 886"/>
              <a:gd name="T38" fmla="*/ 382 w 886"/>
              <a:gd name="T39" fmla="*/ 351 h 886"/>
              <a:gd name="T40" fmla="*/ 21 w 886"/>
              <a:gd name="T41" fmla="*/ 738 h 886"/>
              <a:gd name="T42" fmla="*/ 7 w 886"/>
              <a:gd name="T43" fmla="*/ 762 h 886"/>
              <a:gd name="T44" fmla="*/ 1 w 886"/>
              <a:gd name="T45" fmla="*/ 787 h 886"/>
              <a:gd name="T46" fmla="*/ 2 w 886"/>
              <a:gd name="T47" fmla="*/ 813 h 886"/>
              <a:gd name="T48" fmla="*/ 11 w 886"/>
              <a:gd name="T49" fmla="*/ 838 h 886"/>
              <a:gd name="T50" fmla="*/ 27 w 886"/>
              <a:gd name="T51" fmla="*/ 860 h 886"/>
              <a:gd name="T52" fmla="*/ 48 w 886"/>
              <a:gd name="T53" fmla="*/ 875 h 886"/>
              <a:gd name="T54" fmla="*/ 73 w 886"/>
              <a:gd name="T55" fmla="*/ 884 h 886"/>
              <a:gd name="T56" fmla="*/ 99 w 886"/>
              <a:gd name="T57" fmla="*/ 885 h 886"/>
              <a:gd name="T58" fmla="*/ 125 w 886"/>
              <a:gd name="T59" fmla="*/ 879 h 886"/>
              <a:gd name="T60" fmla="*/ 148 w 886"/>
              <a:gd name="T61" fmla="*/ 866 h 886"/>
              <a:gd name="T62" fmla="*/ 530 w 886"/>
              <a:gd name="T63" fmla="*/ 502 h 886"/>
              <a:gd name="T64" fmla="*/ 570 w 886"/>
              <a:gd name="T65" fmla="*/ 515 h 886"/>
              <a:gd name="T66" fmla="*/ 612 w 886"/>
              <a:gd name="T67" fmla="*/ 520 h 886"/>
              <a:gd name="T68" fmla="*/ 626 w 886"/>
              <a:gd name="T69" fmla="*/ 520 h 886"/>
              <a:gd name="T70" fmla="*/ 664 w 886"/>
              <a:gd name="T71" fmla="*/ 518 h 886"/>
              <a:gd name="T72" fmla="*/ 702 w 886"/>
              <a:gd name="T73" fmla="*/ 509 h 886"/>
              <a:gd name="T74" fmla="*/ 737 w 886"/>
              <a:gd name="T75" fmla="*/ 496 h 886"/>
              <a:gd name="T76" fmla="*/ 769 w 886"/>
              <a:gd name="T77" fmla="*/ 477 h 886"/>
              <a:gd name="T78" fmla="*/ 800 w 886"/>
              <a:gd name="T79" fmla="*/ 454 h 886"/>
              <a:gd name="T80" fmla="*/ 837 w 886"/>
              <a:gd name="T81" fmla="*/ 413 h 886"/>
              <a:gd name="T82" fmla="*/ 867 w 886"/>
              <a:gd name="T83" fmla="*/ 360 h 886"/>
              <a:gd name="T84" fmla="*/ 883 w 886"/>
              <a:gd name="T85" fmla="*/ 301 h 886"/>
              <a:gd name="T86" fmla="*/ 885 w 886"/>
              <a:gd name="T87" fmla="*/ 241 h 886"/>
              <a:gd name="T88" fmla="*/ 873 w 886"/>
              <a:gd name="T89" fmla="*/ 181 h 8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86" h="886">
                <a:moveTo>
                  <a:pt x="857" y="143"/>
                </a:moveTo>
                <a:lnTo>
                  <a:pt x="855" y="139"/>
                </a:lnTo>
                <a:lnTo>
                  <a:pt x="853" y="137"/>
                </a:lnTo>
                <a:lnTo>
                  <a:pt x="849" y="135"/>
                </a:lnTo>
                <a:lnTo>
                  <a:pt x="846" y="133"/>
                </a:lnTo>
                <a:lnTo>
                  <a:pt x="842" y="134"/>
                </a:lnTo>
                <a:lnTo>
                  <a:pt x="839" y="135"/>
                </a:lnTo>
                <a:lnTo>
                  <a:pt x="836" y="136"/>
                </a:lnTo>
                <a:lnTo>
                  <a:pt x="833" y="138"/>
                </a:lnTo>
                <a:lnTo>
                  <a:pt x="712" y="259"/>
                </a:lnTo>
                <a:lnTo>
                  <a:pt x="646" y="259"/>
                </a:lnTo>
                <a:lnTo>
                  <a:pt x="646" y="172"/>
                </a:lnTo>
                <a:lnTo>
                  <a:pt x="751" y="53"/>
                </a:lnTo>
                <a:lnTo>
                  <a:pt x="753" y="49"/>
                </a:lnTo>
                <a:lnTo>
                  <a:pt x="754" y="46"/>
                </a:lnTo>
                <a:lnTo>
                  <a:pt x="755" y="43"/>
                </a:lnTo>
                <a:lnTo>
                  <a:pt x="755" y="39"/>
                </a:lnTo>
                <a:lnTo>
                  <a:pt x="754" y="37"/>
                </a:lnTo>
                <a:lnTo>
                  <a:pt x="752" y="33"/>
                </a:lnTo>
                <a:lnTo>
                  <a:pt x="750" y="31"/>
                </a:lnTo>
                <a:lnTo>
                  <a:pt x="747" y="29"/>
                </a:lnTo>
                <a:lnTo>
                  <a:pt x="733" y="23"/>
                </a:lnTo>
                <a:lnTo>
                  <a:pt x="719" y="16"/>
                </a:lnTo>
                <a:lnTo>
                  <a:pt x="704" y="12"/>
                </a:lnTo>
                <a:lnTo>
                  <a:pt x="689" y="8"/>
                </a:lnTo>
                <a:lnTo>
                  <a:pt x="674" y="5"/>
                </a:lnTo>
                <a:lnTo>
                  <a:pt x="659" y="2"/>
                </a:lnTo>
                <a:lnTo>
                  <a:pt x="643" y="1"/>
                </a:lnTo>
                <a:lnTo>
                  <a:pt x="628" y="0"/>
                </a:lnTo>
                <a:lnTo>
                  <a:pt x="615" y="0"/>
                </a:lnTo>
                <a:lnTo>
                  <a:pt x="602" y="1"/>
                </a:lnTo>
                <a:lnTo>
                  <a:pt x="589" y="3"/>
                </a:lnTo>
                <a:lnTo>
                  <a:pt x="577" y="6"/>
                </a:lnTo>
                <a:lnTo>
                  <a:pt x="564" y="8"/>
                </a:lnTo>
                <a:lnTo>
                  <a:pt x="552" y="11"/>
                </a:lnTo>
                <a:lnTo>
                  <a:pt x="539" y="15"/>
                </a:lnTo>
                <a:lnTo>
                  <a:pt x="527" y="19"/>
                </a:lnTo>
                <a:lnTo>
                  <a:pt x="516" y="25"/>
                </a:lnTo>
                <a:lnTo>
                  <a:pt x="505" y="31"/>
                </a:lnTo>
                <a:lnTo>
                  <a:pt x="493" y="37"/>
                </a:lnTo>
                <a:lnTo>
                  <a:pt x="482" y="44"/>
                </a:lnTo>
                <a:lnTo>
                  <a:pt x="473" y="52"/>
                </a:lnTo>
                <a:lnTo>
                  <a:pt x="462" y="59"/>
                </a:lnTo>
                <a:lnTo>
                  <a:pt x="452" y="68"/>
                </a:lnTo>
                <a:lnTo>
                  <a:pt x="443" y="76"/>
                </a:lnTo>
                <a:lnTo>
                  <a:pt x="429" y="91"/>
                </a:lnTo>
                <a:lnTo>
                  <a:pt x="416" y="107"/>
                </a:lnTo>
                <a:lnTo>
                  <a:pt x="405" y="124"/>
                </a:lnTo>
                <a:lnTo>
                  <a:pt x="396" y="141"/>
                </a:lnTo>
                <a:lnTo>
                  <a:pt x="387" y="160"/>
                </a:lnTo>
                <a:lnTo>
                  <a:pt x="380" y="178"/>
                </a:lnTo>
                <a:lnTo>
                  <a:pt x="374" y="196"/>
                </a:lnTo>
                <a:lnTo>
                  <a:pt x="370" y="215"/>
                </a:lnTo>
                <a:lnTo>
                  <a:pt x="368" y="235"/>
                </a:lnTo>
                <a:lnTo>
                  <a:pt x="366" y="254"/>
                </a:lnTo>
                <a:lnTo>
                  <a:pt x="367" y="274"/>
                </a:lnTo>
                <a:lnTo>
                  <a:pt x="368" y="293"/>
                </a:lnTo>
                <a:lnTo>
                  <a:pt x="371" y="313"/>
                </a:lnTo>
                <a:lnTo>
                  <a:pt x="376" y="332"/>
                </a:lnTo>
                <a:lnTo>
                  <a:pt x="382" y="351"/>
                </a:lnTo>
                <a:lnTo>
                  <a:pt x="390" y="369"/>
                </a:lnTo>
                <a:lnTo>
                  <a:pt x="27" y="732"/>
                </a:lnTo>
                <a:lnTo>
                  <a:pt x="21" y="738"/>
                </a:lnTo>
                <a:lnTo>
                  <a:pt x="16" y="746"/>
                </a:lnTo>
                <a:lnTo>
                  <a:pt x="11" y="753"/>
                </a:lnTo>
                <a:lnTo>
                  <a:pt x="7" y="762"/>
                </a:lnTo>
                <a:lnTo>
                  <a:pt x="4" y="769"/>
                </a:lnTo>
                <a:lnTo>
                  <a:pt x="2" y="778"/>
                </a:lnTo>
                <a:lnTo>
                  <a:pt x="1" y="787"/>
                </a:lnTo>
                <a:lnTo>
                  <a:pt x="0" y="796"/>
                </a:lnTo>
                <a:lnTo>
                  <a:pt x="1" y="805"/>
                </a:lnTo>
                <a:lnTo>
                  <a:pt x="2" y="813"/>
                </a:lnTo>
                <a:lnTo>
                  <a:pt x="4" y="822"/>
                </a:lnTo>
                <a:lnTo>
                  <a:pt x="7" y="830"/>
                </a:lnTo>
                <a:lnTo>
                  <a:pt x="11" y="838"/>
                </a:lnTo>
                <a:lnTo>
                  <a:pt x="15" y="845"/>
                </a:lnTo>
                <a:lnTo>
                  <a:pt x="20" y="853"/>
                </a:lnTo>
                <a:lnTo>
                  <a:pt x="27" y="860"/>
                </a:lnTo>
                <a:lnTo>
                  <a:pt x="33" y="866"/>
                </a:lnTo>
                <a:lnTo>
                  <a:pt x="41" y="871"/>
                </a:lnTo>
                <a:lnTo>
                  <a:pt x="48" y="875"/>
                </a:lnTo>
                <a:lnTo>
                  <a:pt x="55" y="879"/>
                </a:lnTo>
                <a:lnTo>
                  <a:pt x="64" y="882"/>
                </a:lnTo>
                <a:lnTo>
                  <a:pt x="73" y="884"/>
                </a:lnTo>
                <a:lnTo>
                  <a:pt x="81" y="885"/>
                </a:lnTo>
                <a:lnTo>
                  <a:pt x="91" y="886"/>
                </a:lnTo>
                <a:lnTo>
                  <a:pt x="99" y="885"/>
                </a:lnTo>
                <a:lnTo>
                  <a:pt x="108" y="884"/>
                </a:lnTo>
                <a:lnTo>
                  <a:pt x="116" y="882"/>
                </a:lnTo>
                <a:lnTo>
                  <a:pt x="125" y="879"/>
                </a:lnTo>
                <a:lnTo>
                  <a:pt x="133" y="875"/>
                </a:lnTo>
                <a:lnTo>
                  <a:pt x="140" y="871"/>
                </a:lnTo>
                <a:lnTo>
                  <a:pt x="148" y="866"/>
                </a:lnTo>
                <a:lnTo>
                  <a:pt x="154" y="860"/>
                </a:lnTo>
                <a:lnTo>
                  <a:pt x="517" y="497"/>
                </a:lnTo>
                <a:lnTo>
                  <a:pt x="530" y="502"/>
                </a:lnTo>
                <a:lnTo>
                  <a:pt x="543" y="507"/>
                </a:lnTo>
                <a:lnTo>
                  <a:pt x="556" y="512"/>
                </a:lnTo>
                <a:lnTo>
                  <a:pt x="570" y="515"/>
                </a:lnTo>
                <a:lnTo>
                  <a:pt x="584" y="517"/>
                </a:lnTo>
                <a:lnTo>
                  <a:pt x="598" y="519"/>
                </a:lnTo>
                <a:lnTo>
                  <a:pt x="612" y="520"/>
                </a:lnTo>
                <a:lnTo>
                  <a:pt x="626" y="520"/>
                </a:lnTo>
                <a:lnTo>
                  <a:pt x="626" y="520"/>
                </a:lnTo>
                <a:lnTo>
                  <a:pt x="626" y="520"/>
                </a:lnTo>
                <a:lnTo>
                  <a:pt x="639" y="520"/>
                </a:lnTo>
                <a:lnTo>
                  <a:pt x="651" y="519"/>
                </a:lnTo>
                <a:lnTo>
                  <a:pt x="664" y="518"/>
                </a:lnTo>
                <a:lnTo>
                  <a:pt x="677" y="516"/>
                </a:lnTo>
                <a:lnTo>
                  <a:pt x="689" y="513"/>
                </a:lnTo>
                <a:lnTo>
                  <a:pt x="702" y="509"/>
                </a:lnTo>
                <a:lnTo>
                  <a:pt x="714" y="505"/>
                </a:lnTo>
                <a:lnTo>
                  <a:pt x="725" y="501"/>
                </a:lnTo>
                <a:lnTo>
                  <a:pt x="737" y="496"/>
                </a:lnTo>
                <a:lnTo>
                  <a:pt x="748" y="490"/>
                </a:lnTo>
                <a:lnTo>
                  <a:pt x="758" y="484"/>
                </a:lnTo>
                <a:lnTo>
                  <a:pt x="769" y="477"/>
                </a:lnTo>
                <a:lnTo>
                  <a:pt x="780" y="470"/>
                </a:lnTo>
                <a:lnTo>
                  <a:pt x="791" y="462"/>
                </a:lnTo>
                <a:lnTo>
                  <a:pt x="800" y="454"/>
                </a:lnTo>
                <a:lnTo>
                  <a:pt x="810" y="444"/>
                </a:lnTo>
                <a:lnTo>
                  <a:pt x="824" y="429"/>
                </a:lnTo>
                <a:lnTo>
                  <a:pt x="837" y="413"/>
                </a:lnTo>
                <a:lnTo>
                  <a:pt x="848" y="396"/>
                </a:lnTo>
                <a:lnTo>
                  <a:pt x="858" y="378"/>
                </a:lnTo>
                <a:lnTo>
                  <a:pt x="867" y="360"/>
                </a:lnTo>
                <a:lnTo>
                  <a:pt x="873" y="340"/>
                </a:lnTo>
                <a:lnTo>
                  <a:pt x="878" y="321"/>
                </a:lnTo>
                <a:lnTo>
                  <a:pt x="883" y="301"/>
                </a:lnTo>
                <a:lnTo>
                  <a:pt x="885" y="282"/>
                </a:lnTo>
                <a:lnTo>
                  <a:pt x="886" y="261"/>
                </a:lnTo>
                <a:lnTo>
                  <a:pt x="885" y="241"/>
                </a:lnTo>
                <a:lnTo>
                  <a:pt x="883" y="221"/>
                </a:lnTo>
                <a:lnTo>
                  <a:pt x="878" y="200"/>
                </a:lnTo>
                <a:lnTo>
                  <a:pt x="873" y="181"/>
                </a:lnTo>
                <a:lnTo>
                  <a:pt x="865" y="162"/>
                </a:lnTo>
                <a:lnTo>
                  <a:pt x="857" y="14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FEA34F"/>
              </a:solidFill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826809" y="2363070"/>
            <a:ext cx="3427830" cy="2755752"/>
            <a:chOff x="826809" y="2258219"/>
            <a:chExt cx="3427830" cy="2755752"/>
          </a:xfrm>
        </p:grpSpPr>
        <p:sp>
          <p:nvSpPr>
            <p:cNvPr id="61" name="TextBox 60"/>
            <p:cNvSpPr txBox="1"/>
            <p:nvPr/>
          </p:nvSpPr>
          <p:spPr>
            <a:xfrm>
              <a:off x="826809" y="2258219"/>
              <a:ext cx="1200650" cy="73866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sz="4800" dirty="0">
                  <a:solidFill>
                    <a:srgbClr val="B0F7F4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80%</a:t>
              </a:r>
              <a:endParaRPr lang="en-US" sz="4800" dirty="0">
                <a:solidFill>
                  <a:srgbClr val="B0F7F4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62" name="Text Placeholder 2"/>
            <p:cNvSpPr txBox="1">
              <a:spLocks/>
            </p:cNvSpPr>
            <p:nvPr/>
          </p:nvSpPr>
          <p:spPr>
            <a:xfrm>
              <a:off x="826809" y="3065193"/>
              <a:ext cx="3427830" cy="109004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ts val="1700"/>
                </a:lnSpc>
                <a:spcBef>
                  <a:spcPts val="0"/>
                </a:spcBef>
              </a:pPr>
              <a:r>
                <a:rPr lang="en-US" dirty="0">
                  <a:solidFill>
                    <a:srgbClr val="B0F7F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 is simply dummy text of the printing and typesetting industry. Lorem Ipsum has been the industry's standard dummy text ever since the 1500s, when an unknown printer took a galley of type and scrambled it to make a type specimen book. </a:t>
              </a:r>
            </a:p>
          </p:txBody>
        </p:sp>
        <p:grpSp>
          <p:nvGrpSpPr>
            <p:cNvPr id="63" name="Group 62"/>
            <p:cNvGrpSpPr/>
            <p:nvPr/>
          </p:nvGrpSpPr>
          <p:grpSpPr>
            <a:xfrm>
              <a:off x="826809" y="4574178"/>
              <a:ext cx="208241" cy="416482"/>
              <a:chOff x="7085013" y="5922963"/>
              <a:chExt cx="142875" cy="285750"/>
            </a:xfrm>
            <a:solidFill>
              <a:srgbClr val="B0F7F4"/>
            </a:solidFill>
            <a:effectLst/>
          </p:grpSpPr>
          <p:sp>
            <p:nvSpPr>
              <p:cNvPr id="64" name="Freeform 3394"/>
              <p:cNvSpPr>
                <a:spLocks/>
              </p:cNvSpPr>
              <p:nvPr/>
            </p:nvSpPr>
            <p:spPr bwMode="auto">
              <a:xfrm>
                <a:off x="7107238" y="5922963"/>
                <a:ext cx="96837" cy="95250"/>
              </a:xfrm>
              <a:custGeom>
                <a:avLst/>
                <a:gdLst>
                  <a:gd name="T0" fmla="*/ 132 w 241"/>
                  <a:gd name="T1" fmla="*/ 239 h 240"/>
                  <a:gd name="T2" fmla="*/ 156 w 241"/>
                  <a:gd name="T3" fmla="*/ 235 h 240"/>
                  <a:gd name="T4" fmla="*/ 177 w 241"/>
                  <a:gd name="T5" fmla="*/ 226 h 240"/>
                  <a:gd name="T6" fmla="*/ 196 w 241"/>
                  <a:gd name="T7" fmla="*/ 212 h 240"/>
                  <a:gd name="T8" fmla="*/ 213 w 241"/>
                  <a:gd name="T9" fmla="*/ 196 h 240"/>
                  <a:gd name="T10" fmla="*/ 226 w 241"/>
                  <a:gd name="T11" fmla="*/ 177 h 240"/>
                  <a:gd name="T12" fmla="*/ 235 w 241"/>
                  <a:gd name="T13" fmla="*/ 155 h 240"/>
                  <a:gd name="T14" fmla="*/ 240 w 241"/>
                  <a:gd name="T15" fmla="*/ 132 h 240"/>
                  <a:gd name="T16" fmla="*/ 240 w 241"/>
                  <a:gd name="T17" fmla="*/ 108 h 240"/>
                  <a:gd name="T18" fmla="*/ 235 w 241"/>
                  <a:gd name="T19" fmla="*/ 83 h 240"/>
                  <a:gd name="T20" fmla="*/ 226 w 241"/>
                  <a:gd name="T21" fmla="*/ 63 h 240"/>
                  <a:gd name="T22" fmla="*/ 213 w 241"/>
                  <a:gd name="T23" fmla="*/ 43 h 240"/>
                  <a:gd name="T24" fmla="*/ 196 w 241"/>
                  <a:gd name="T25" fmla="*/ 27 h 240"/>
                  <a:gd name="T26" fmla="*/ 177 w 241"/>
                  <a:gd name="T27" fmla="*/ 14 h 240"/>
                  <a:gd name="T28" fmla="*/ 156 w 241"/>
                  <a:gd name="T29" fmla="*/ 5 h 240"/>
                  <a:gd name="T30" fmla="*/ 132 w 241"/>
                  <a:gd name="T31" fmla="*/ 0 h 240"/>
                  <a:gd name="T32" fmla="*/ 108 w 241"/>
                  <a:gd name="T33" fmla="*/ 0 h 240"/>
                  <a:gd name="T34" fmla="*/ 84 w 241"/>
                  <a:gd name="T35" fmla="*/ 5 h 240"/>
                  <a:gd name="T36" fmla="*/ 63 w 241"/>
                  <a:gd name="T37" fmla="*/ 14 h 240"/>
                  <a:gd name="T38" fmla="*/ 43 w 241"/>
                  <a:gd name="T39" fmla="*/ 27 h 240"/>
                  <a:gd name="T40" fmla="*/ 28 w 241"/>
                  <a:gd name="T41" fmla="*/ 43 h 240"/>
                  <a:gd name="T42" fmla="*/ 15 w 241"/>
                  <a:gd name="T43" fmla="*/ 63 h 240"/>
                  <a:gd name="T44" fmla="*/ 6 w 241"/>
                  <a:gd name="T45" fmla="*/ 83 h 240"/>
                  <a:gd name="T46" fmla="*/ 1 w 241"/>
                  <a:gd name="T47" fmla="*/ 108 h 240"/>
                  <a:gd name="T48" fmla="*/ 1 w 241"/>
                  <a:gd name="T49" fmla="*/ 132 h 240"/>
                  <a:gd name="T50" fmla="*/ 6 w 241"/>
                  <a:gd name="T51" fmla="*/ 155 h 240"/>
                  <a:gd name="T52" fmla="*/ 15 w 241"/>
                  <a:gd name="T53" fmla="*/ 177 h 240"/>
                  <a:gd name="T54" fmla="*/ 28 w 241"/>
                  <a:gd name="T55" fmla="*/ 196 h 240"/>
                  <a:gd name="T56" fmla="*/ 43 w 241"/>
                  <a:gd name="T57" fmla="*/ 212 h 240"/>
                  <a:gd name="T58" fmla="*/ 63 w 241"/>
                  <a:gd name="T59" fmla="*/ 226 h 240"/>
                  <a:gd name="T60" fmla="*/ 84 w 241"/>
                  <a:gd name="T61" fmla="*/ 235 h 240"/>
                  <a:gd name="T62" fmla="*/ 108 w 241"/>
                  <a:gd name="T63" fmla="*/ 239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41" h="240">
                    <a:moveTo>
                      <a:pt x="120" y="240"/>
                    </a:moveTo>
                    <a:lnTo>
                      <a:pt x="132" y="239"/>
                    </a:lnTo>
                    <a:lnTo>
                      <a:pt x="145" y="237"/>
                    </a:lnTo>
                    <a:lnTo>
                      <a:pt x="156" y="235"/>
                    </a:lnTo>
                    <a:lnTo>
                      <a:pt x="167" y="230"/>
                    </a:lnTo>
                    <a:lnTo>
                      <a:pt x="177" y="226"/>
                    </a:lnTo>
                    <a:lnTo>
                      <a:pt x="187" y="219"/>
                    </a:lnTo>
                    <a:lnTo>
                      <a:pt x="196" y="212"/>
                    </a:lnTo>
                    <a:lnTo>
                      <a:pt x="205" y="204"/>
                    </a:lnTo>
                    <a:lnTo>
                      <a:pt x="213" y="196"/>
                    </a:lnTo>
                    <a:lnTo>
                      <a:pt x="221" y="187"/>
                    </a:lnTo>
                    <a:lnTo>
                      <a:pt x="226" y="177"/>
                    </a:lnTo>
                    <a:lnTo>
                      <a:pt x="231" y="167"/>
                    </a:lnTo>
                    <a:lnTo>
                      <a:pt x="235" y="155"/>
                    </a:lnTo>
                    <a:lnTo>
                      <a:pt x="239" y="144"/>
                    </a:lnTo>
                    <a:lnTo>
                      <a:pt x="240" y="132"/>
                    </a:lnTo>
                    <a:lnTo>
                      <a:pt x="241" y="119"/>
                    </a:lnTo>
                    <a:lnTo>
                      <a:pt x="240" y="108"/>
                    </a:lnTo>
                    <a:lnTo>
                      <a:pt x="239" y="95"/>
                    </a:lnTo>
                    <a:lnTo>
                      <a:pt x="235" y="83"/>
                    </a:lnTo>
                    <a:lnTo>
                      <a:pt x="231" y="73"/>
                    </a:lnTo>
                    <a:lnTo>
                      <a:pt x="226" y="63"/>
                    </a:lnTo>
                    <a:lnTo>
                      <a:pt x="221" y="52"/>
                    </a:lnTo>
                    <a:lnTo>
                      <a:pt x="213" y="43"/>
                    </a:lnTo>
                    <a:lnTo>
                      <a:pt x="205" y="34"/>
                    </a:lnTo>
                    <a:lnTo>
                      <a:pt x="196" y="27"/>
                    </a:lnTo>
                    <a:lnTo>
                      <a:pt x="187" y="20"/>
                    </a:lnTo>
                    <a:lnTo>
                      <a:pt x="177" y="14"/>
                    </a:lnTo>
                    <a:lnTo>
                      <a:pt x="167" y="9"/>
                    </a:lnTo>
                    <a:lnTo>
                      <a:pt x="156" y="5"/>
                    </a:lnTo>
                    <a:lnTo>
                      <a:pt x="145" y="2"/>
                    </a:lnTo>
                    <a:lnTo>
                      <a:pt x="132" y="0"/>
                    </a:lnTo>
                    <a:lnTo>
                      <a:pt x="120" y="0"/>
                    </a:lnTo>
                    <a:lnTo>
                      <a:pt x="108" y="0"/>
                    </a:lnTo>
                    <a:lnTo>
                      <a:pt x="96" y="2"/>
                    </a:lnTo>
                    <a:lnTo>
                      <a:pt x="84" y="5"/>
                    </a:lnTo>
                    <a:lnTo>
                      <a:pt x="74" y="9"/>
                    </a:lnTo>
                    <a:lnTo>
                      <a:pt x="63" y="14"/>
                    </a:lnTo>
                    <a:lnTo>
                      <a:pt x="54" y="20"/>
                    </a:lnTo>
                    <a:lnTo>
                      <a:pt x="43" y="27"/>
                    </a:lnTo>
                    <a:lnTo>
                      <a:pt x="36" y="34"/>
                    </a:lnTo>
                    <a:lnTo>
                      <a:pt x="28" y="43"/>
                    </a:lnTo>
                    <a:lnTo>
                      <a:pt x="20" y="52"/>
                    </a:lnTo>
                    <a:lnTo>
                      <a:pt x="15" y="63"/>
                    </a:lnTo>
                    <a:lnTo>
                      <a:pt x="10" y="73"/>
                    </a:lnTo>
                    <a:lnTo>
                      <a:pt x="6" y="83"/>
                    </a:lnTo>
                    <a:lnTo>
                      <a:pt x="2" y="95"/>
                    </a:lnTo>
                    <a:lnTo>
                      <a:pt x="1" y="108"/>
                    </a:lnTo>
                    <a:lnTo>
                      <a:pt x="0" y="119"/>
                    </a:lnTo>
                    <a:lnTo>
                      <a:pt x="1" y="132"/>
                    </a:lnTo>
                    <a:lnTo>
                      <a:pt x="2" y="144"/>
                    </a:lnTo>
                    <a:lnTo>
                      <a:pt x="6" y="155"/>
                    </a:lnTo>
                    <a:lnTo>
                      <a:pt x="10" y="167"/>
                    </a:lnTo>
                    <a:lnTo>
                      <a:pt x="15" y="177"/>
                    </a:lnTo>
                    <a:lnTo>
                      <a:pt x="20" y="187"/>
                    </a:lnTo>
                    <a:lnTo>
                      <a:pt x="28" y="196"/>
                    </a:lnTo>
                    <a:lnTo>
                      <a:pt x="36" y="204"/>
                    </a:lnTo>
                    <a:lnTo>
                      <a:pt x="43" y="212"/>
                    </a:lnTo>
                    <a:lnTo>
                      <a:pt x="54" y="219"/>
                    </a:lnTo>
                    <a:lnTo>
                      <a:pt x="63" y="226"/>
                    </a:lnTo>
                    <a:lnTo>
                      <a:pt x="74" y="230"/>
                    </a:lnTo>
                    <a:lnTo>
                      <a:pt x="84" y="235"/>
                    </a:lnTo>
                    <a:lnTo>
                      <a:pt x="96" y="237"/>
                    </a:lnTo>
                    <a:lnTo>
                      <a:pt x="108" y="239"/>
                    </a:lnTo>
                    <a:lnTo>
                      <a:pt x="120" y="2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3395"/>
              <p:cNvSpPr>
                <a:spLocks/>
              </p:cNvSpPr>
              <p:nvPr/>
            </p:nvSpPr>
            <p:spPr bwMode="auto">
              <a:xfrm>
                <a:off x="7085013" y="6027738"/>
                <a:ext cx="142875" cy="180975"/>
              </a:xfrm>
              <a:custGeom>
                <a:avLst/>
                <a:gdLst>
                  <a:gd name="T0" fmla="*/ 0 w 359"/>
                  <a:gd name="T1" fmla="*/ 0 h 456"/>
                  <a:gd name="T2" fmla="*/ 0 w 359"/>
                  <a:gd name="T3" fmla="*/ 12 h 456"/>
                  <a:gd name="T4" fmla="*/ 0 w 359"/>
                  <a:gd name="T5" fmla="*/ 39 h 456"/>
                  <a:gd name="T6" fmla="*/ 2 w 359"/>
                  <a:gd name="T7" fmla="*/ 64 h 456"/>
                  <a:gd name="T8" fmla="*/ 5 w 359"/>
                  <a:gd name="T9" fmla="*/ 88 h 456"/>
                  <a:gd name="T10" fmla="*/ 10 w 359"/>
                  <a:gd name="T11" fmla="*/ 109 h 456"/>
                  <a:gd name="T12" fmla="*/ 15 w 359"/>
                  <a:gd name="T13" fmla="*/ 130 h 456"/>
                  <a:gd name="T14" fmla="*/ 21 w 359"/>
                  <a:gd name="T15" fmla="*/ 148 h 456"/>
                  <a:gd name="T16" fmla="*/ 29 w 359"/>
                  <a:gd name="T17" fmla="*/ 165 h 456"/>
                  <a:gd name="T18" fmla="*/ 37 w 359"/>
                  <a:gd name="T19" fmla="*/ 180 h 456"/>
                  <a:gd name="T20" fmla="*/ 46 w 359"/>
                  <a:gd name="T21" fmla="*/ 194 h 456"/>
                  <a:gd name="T22" fmla="*/ 54 w 359"/>
                  <a:gd name="T23" fmla="*/ 206 h 456"/>
                  <a:gd name="T24" fmla="*/ 63 w 359"/>
                  <a:gd name="T25" fmla="*/ 217 h 456"/>
                  <a:gd name="T26" fmla="*/ 72 w 359"/>
                  <a:gd name="T27" fmla="*/ 226 h 456"/>
                  <a:gd name="T28" fmla="*/ 82 w 359"/>
                  <a:gd name="T29" fmla="*/ 235 h 456"/>
                  <a:gd name="T30" fmla="*/ 91 w 359"/>
                  <a:gd name="T31" fmla="*/ 243 h 456"/>
                  <a:gd name="T32" fmla="*/ 98 w 359"/>
                  <a:gd name="T33" fmla="*/ 249 h 456"/>
                  <a:gd name="T34" fmla="*/ 107 w 359"/>
                  <a:gd name="T35" fmla="*/ 255 h 456"/>
                  <a:gd name="T36" fmla="*/ 107 w 359"/>
                  <a:gd name="T37" fmla="*/ 456 h 456"/>
                  <a:gd name="T38" fmla="*/ 251 w 359"/>
                  <a:gd name="T39" fmla="*/ 456 h 456"/>
                  <a:gd name="T40" fmla="*/ 251 w 359"/>
                  <a:gd name="T41" fmla="*/ 255 h 456"/>
                  <a:gd name="T42" fmla="*/ 262 w 359"/>
                  <a:gd name="T43" fmla="*/ 248 h 456"/>
                  <a:gd name="T44" fmla="*/ 271 w 359"/>
                  <a:gd name="T45" fmla="*/ 242 h 456"/>
                  <a:gd name="T46" fmla="*/ 281 w 359"/>
                  <a:gd name="T47" fmla="*/ 234 h 456"/>
                  <a:gd name="T48" fmla="*/ 290 w 359"/>
                  <a:gd name="T49" fmla="*/ 225 h 456"/>
                  <a:gd name="T50" fmla="*/ 299 w 359"/>
                  <a:gd name="T51" fmla="*/ 215 h 456"/>
                  <a:gd name="T52" fmla="*/ 308 w 359"/>
                  <a:gd name="T53" fmla="*/ 203 h 456"/>
                  <a:gd name="T54" fmla="*/ 317 w 359"/>
                  <a:gd name="T55" fmla="*/ 192 h 456"/>
                  <a:gd name="T56" fmla="*/ 325 w 359"/>
                  <a:gd name="T57" fmla="*/ 177 h 456"/>
                  <a:gd name="T58" fmla="*/ 332 w 359"/>
                  <a:gd name="T59" fmla="*/ 162 h 456"/>
                  <a:gd name="T60" fmla="*/ 339 w 359"/>
                  <a:gd name="T61" fmla="*/ 145 h 456"/>
                  <a:gd name="T62" fmla="*/ 345 w 359"/>
                  <a:gd name="T63" fmla="*/ 127 h 456"/>
                  <a:gd name="T64" fmla="*/ 350 w 359"/>
                  <a:gd name="T65" fmla="*/ 108 h 456"/>
                  <a:gd name="T66" fmla="*/ 354 w 359"/>
                  <a:gd name="T67" fmla="*/ 86 h 456"/>
                  <a:gd name="T68" fmla="*/ 357 w 359"/>
                  <a:gd name="T69" fmla="*/ 63 h 456"/>
                  <a:gd name="T70" fmla="*/ 359 w 359"/>
                  <a:gd name="T71" fmla="*/ 39 h 456"/>
                  <a:gd name="T72" fmla="*/ 359 w 359"/>
                  <a:gd name="T73" fmla="*/ 12 h 456"/>
                  <a:gd name="T74" fmla="*/ 359 w 359"/>
                  <a:gd name="T75" fmla="*/ 0 h 456"/>
                  <a:gd name="T76" fmla="*/ 0 w 359"/>
                  <a:gd name="T77" fmla="*/ 0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59" h="456">
                    <a:moveTo>
                      <a:pt x="0" y="0"/>
                    </a:moveTo>
                    <a:lnTo>
                      <a:pt x="0" y="12"/>
                    </a:lnTo>
                    <a:lnTo>
                      <a:pt x="0" y="39"/>
                    </a:lnTo>
                    <a:lnTo>
                      <a:pt x="2" y="64"/>
                    </a:lnTo>
                    <a:lnTo>
                      <a:pt x="5" y="88"/>
                    </a:lnTo>
                    <a:lnTo>
                      <a:pt x="10" y="109"/>
                    </a:lnTo>
                    <a:lnTo>
                      <a:pt x="15" y="130"/>
                    </a:lnTo>
                    <a:lnTo>
                      <a:pt x="21" y="148"/>
                    </a:lnTo>
                    <a:lnTo>
                      <a:pt x="29" y="165"/>
                    </a:lnTo>
                    <a:lnTo>
                      <a:pt x="37" y="180"/>
                    </a:lnTo>
                    <a:lnTo>
                      <a:pt x="46" y="194"/>
                    </a:lnTo>
                    <a:lnTo>
                      <a:pt x="54" y="206"/>
                    </a:lnTo>
                    <a:lnTo>
                      <a:pt x="63" y="217"/>
                    </a:lnTo>
                    <a:lnTo>
                      <a:pt x="72" y="226"/>
                    </a:lnTo>
                    <a:lnTo>
                      <a:pt x="82" y="235"/>
                    </a:lnTo>
                    <a:lnTo>
                      <a:pt x="91" y="243"/>
                    </a:lnTo>
                    <a:lnTo>
                      <a:pt x="98" y="249"/>
                    </a:lnTo>
                    <a:lnTo>
                      <a:pt x="107" y="255"/>
                    </a:lnTo>
                    <a:lnTo>
                      <a:pt x="107" y="456"/>
                    </a:lnTo>
                    <a:lnTo>
                      <a:pt x="251" y="456"/>
                    </a:lnTo>
                    <a:lnTo>
                      <a:pt x="251" y="255"/>
                    </a:lnTo>
                    <a:lnTo>
                      <a:pt x="262" y="248"/>
                    </a:lnTo>
                    <a:lnTo>
                      <a:pt x="271" y="242"/>
                    </a:lnTo>
                    <a:lnTo>
                      <a:pt x="281" y="234"/>
                    </a:lnTo>
                    <a:lnTo>
                      <a:pt x="290" y="225"/>
                    </a:lnTo>
                    <a:lnTo>
                      <a:pt x="299" y="215"/>
                    </a:lnTo>
                    <a:lnTo>
                      <a:pt x="308" y="203"/>
                    </a:lnTo>
                    <a:lnTo>
                      <a:pt x="317" y="192"/>
                    </a:lnTo>
                    <a:lnTo>
                      <a:pt x="325" y="177"/>
                    </a:lnTo>
                    <a:lnTo>
                      <a:pt x="332" y="162"/>
                    </a:lnTo>
                    <a:lnTo>
                      <a:pt x="339" y="145"/>
                    </a:lnTo>
                    <a:lnTo>
                      <a:pt x="345" y="127"/>
                    </a:lnTo>
                    <a:lnTo>
                      <a:pt x="350" y="108"/>
                    </a:lnTo>
                    <a:lnTo>
                      <a:pt x="354" y="86"/>
                    </a:lnTo>
                    <a:lnTo>
                      <a:pt x="357" y="63"/>
                    </a:lnTo>
                    <a:lnTo>
                      <a:pt x="359" y="39"/>
                    </a:lnTo>
                    <a:lnTo>
                      <a:pt x="359" y="12"/>
                    </a:lnTo>
                    <a:lnTo>
                      <a:pt x="359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Group 68"/>
            <p:cNvGrpSpPr/>
            <p:nvPr/>
          </p:nvGrpSpPr>
          <p:grpSpPr>
            <a:xfrm>
              <a:off x="2525065" y="4574178"/>
              <a:ext cx="208241" cy="416482"/>
              <a:chOff x="6530975" y="5922963"/>
              <a:chExt cx="142875" cy="285750"/>
            </a:xfrm>
            <a:solidFill>
              <a:srgbClr val="B0F7F4"/>
            </a:solidFill>
          </p:grpSpPr>
          <p:sp>
            <p:nvSpPr>
              <p:cNvPr id="70" name="Freeform 3402"/>
              <p:cNvSpPr>
                <a:spLocks/>
              </p:cNvSpPr>
              <p:nvPr/>
            </p:nvSpPr>
            <p:spPr bwMode="auto">
              <a:xfrm>
                <a:off x="6554788" y="5922963"/>
                <a:ext cx="93662" cy="93663"/>
              </a:xfrm>
              <a:custGeom>
                <a:avLst/>
                <a:gdLst>
                  <a:gd name="T0" fmla="*/ 131 w 237"/>
                  <a:gd name="T1" fmla="*/ 235 h 236"/>
                  <a:gd name="T2" fmla="*/ 154 w 237"/>
                  <a:gd name="T3" fmla="*/ 230 h 236"/>
                  <a:gd name="T4" fmla="*/ 175 w 237"/>
                  <a:gd name="T5" fmla="*/ 221 h 236"/>
                  <a:gd name="T6" fmla="*/ 194 w 237"/>
                  <a:gd name="T7" fmla="*/ 209 h 236"/>
                  <a:gd name="T8" fmla="*/ 210 w 237"/>
                  <a:gd name="T9" fmla="*/ 192 h 236"/>
                  <a:gd name="T10" fmla="*/ 222 w 237"/>
                  <a:gd name="T11" fmla="*/ 173 h 236"/>
                  <a:gd name="T12" fmla="*/ 231 w 237"/>
                  <a:gd name="T13" fmla="*/ 153 h 236"/>
                  <a:gd name="T14" fmla="*/ 237 w 237"/>
                  <a:gd name="T15" fmla="*/ 129 h 236"/>
                  <a:gd name="T16" fmla="*/ 237 w 237"/>
                  <a:gd name="T17" fmla="*/ 105 h 236"/>
                  <a:gd name="T18" fmla="*/ 231 w 237"/>
                  <a:gd name="T19" fmla="*/ 82 h 236"/>
                  <a:gd name="T20" fmla="*/ 222 w 237"/>
                  <a:gd name="T21" fmla="*/ 61 h 236"/>
                  <a:gd name="T22" fmla="*/ 210 w 237"/>
                  <a:gd name="T23" fmla="*/ 42 h 236"/>
                  <a:gd name="T24" fmla="*/ 194 w 237"/>
                  <a:gd name="T25" fmla="*/ 27 h 236"/>
                  <a:gd name="T26" fmla="*/ 175 w 237"/>
                  <a:gd name="T27" fmla="*/ 14 h 236"/>
                  <a:gd name="T28" fmla="*/ 153 w 237"/>
                  <a:gd name="T29" fmla="*/ 5 h 236"/>
                  <a:gd name="T30" fmla="*/ 131 w 237"/>
                  <a:gd name="T31" fmla="*/ 0 h 236"/>
                  <a:gd name="T32" fmla="*/ 107 w 237"/>
                  <a:gd name="T33" fmla="*/ 0 h 236"/>
                  <a:gd name="T34" fmla="*/ 84 w 237"/>
                  <a:gd name="T35" fmla="*/ 5 h 236"/>
                  <a:gd name="T36" fmla="*/ 62 w 237"/>
                  <a:gd name="T37" fmla="*/ 14 h 236"/>
                  <a:gd name="T38" fmla="*/ 44 w 237"/>
                  <a:gd name="T39" fmla="*/ 27 h 236"/>
                  <a:gd name="T40" fmla="*/ 27 w 237"/>
                  <a:gd name="T41" fmla="*/ 42 h 236"/>
                  <a:gd name="T42" fmla="*/ 14 w 237"/>
                  <a:gd name="T43" fmla="*/ 61 h 236"/>
                  <a:gd name="T44" fmla="*/ 5 w 237"/>
                  <a:gd name="T45" fmla="*/ 82 h 236"/>
                  <a:gd name="T46" fmla="*/ 2 w 237"/>
                  <a:gd name="T47" fmla="*/ 105 h 236"/>
                  <a:gd name="T48" fmla="*/ 2 w 237"/>
                  <a:gd name="T49" fmla="*/ 129 h 236"/>
                  <a:gd name="T50" fmla="*/ 5 w 237"/>
                  <a:gd name="T51" fmla="*/ 153 h 236"/>
                  <a:gd name="T52" fmla="*/ 14 w 237"/>
                  <a:gd name="T53" fmla="*/ 173 h 236"/>
                  <a:gd name="T54" fmla="*/ 27 w 237"/>
                  <a:gd name="T55" fmla="*/ 192 h 236"/>
                  <a:gd name="T56" fmla="*/ 44 w 237"/>
                  <a:gd name="T57" fmla="*/ 209 h 236"/>
                  <a:gd name="T58" fmla="*/ 62 w 237"/>
                  <a:gd name="T59" fmla="*/ 221 h 236"/>
                  <a:gd name="T60" fmla="*/ 84 w 237"/>
                  <a:gd name="T61" fmla="*/ 230 h 236"/>
                  <a:gd name="T62" fmla="*/ 107 w 237"/>
                  <a:gd name="T63" fmla="*/ 235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7" h="236">
                    <a:moveTo>
                      <a:pt x="118" y="236"/>
                    </a:moveTo>
                    <a:lnTo>
                      <a:pt x="131" y="235"/>
                    </a:lnTo>
                    <a:lnTo>
                      <a:pt x="143" y="233"/>
                    </a:lnTo>
                    <a:lnTo>
                      <a:pt x="154" y="230"/>
                    </a:lnTo>
                    <a:lnTo>
                      <a:pt x="165" y="226"/>
                    </a:lnTo>
                    <a:lnTo>
                      <a:pt x="175" y="221"/>
                    </a:lnTo>
                    <a:lnTo>
                      <a:pt x="185" y="215"/>
                    </a:lnTo>
                    <a:lnTo>
                      <a:pt x="194" y="209"/>
                    </a:lnTo>
                    <a:lnTo>
                      <a:pt x="202" y="201"/>
                    </a:lnTo>
                    <a:lnTo>
                      <a:pt x="210" y="192"/>
                    </a:lnTo>
                    <a:lnTo>
                      <a:pt x="216" y="183"/>
                    </a:lnTo>
                    <a:lnTo>
                      <a:pt x="222" y="173"/>
                    </a:lnTo>
                    <a:lnTo>
                      <a:pt x="228" y="163"/>
                    </a:lnTo>
                    <a:lnTo>
                      <a:pt x="231" y="153"/>
                    </a:lnTo>
                    <a:lnTo>
                      <a:pt x="234" y="141"/>
                    </a:lnTo>
                    <a:lnTo>
                      <a:pt x="237" y="129"/>
                    </a:lnTo>
                    <a:lnTo>
                      <a:pt x="237" y="118"/>
                    </a:lnTo>
                    <a:lnTo>
                      <a:pt x="237" y="105"/>
                    </a:lnTo>
                    <a:lnTo>
                      <a:pt x="234" y="93"/>
                    </a:lnTo>
                    <a:lnTo>
                      <a:pt x="231" y="82"/>
                    </a:lnTo>
                    <a:lnTo>
                      <a:pt x="228" y="72"/>
                    </a:lnTo>
                    <a:lnTo>
                      <a:pt x="222" y="61"/>
                    </a:lnTo>
                    <a:lnTo>
                      <a:pt x="216" y="51"/>
                    </a:lnTo>
                    <a:lnTo>
                      <a:pt x="210" y="42"/>
                    </a:lnTo>
                    <a:lnTo>
                      <a:pt x="202" y="34"/>
                    </a:lnTo>
                    <a:lnTo>
                      <a:pt x="194" y="27"/>
                    </a:lnTo>
                    <a:lnTo>
                      <a:pt x="185" y="19"/>
                    </a:lnTo>
                    <a:lnTo>
                      <a:pt x="175" y="14"/>
                    </a:lnTo>
                    <a:lnTo>
                      <a:pt x="165" y="9"/>
                    </a:lnTo>
                    <a:lnTo>
                      <a:pt x="153" y="5"/>
                    </a:lnTo>
                    <a:lnTo>
                      <a:pt x="143" y="2"/>
                    </a:lnTo>
                    <a:lnTo>
                      <a:pt x="131" y="0"/>
                    </a:lnTo>
                    <a:lnTo>
                      <a:pt x="118" y="0"/>
                    </a:lnTo>
                    <a:lnTo>
                      <a:pt x="107" y="0"/>
                    </a:lnTo>
                    <a:lnTo>
                      <a:pt x="95" y="2"/>
                    </a:lnTo>
                    <a:lnTo>
                      <a:pt x="84" y="5"/>
                    </a:lnTo>
                    <a:lnTo>
                      <a:pt x="72" y="9"/>
                    </a:lnTo>
                    <a:lnTo>
                      <a:pt x="62" y="14"/>
                    </a:lnTo>
                    <a:lnTo>
                      <a:pt x="53" y="19"/>
                    </a:lnTo>
                    <a:lnTo>
                      <a:pt x="44" y="27"/>
                    </a:lnTo>
                    <a:lnTo>
                      <a:pt x="35" y="34"/>
                    </a:lnTo>
                    <a:lnTo>
                      <a:pt x="27" y="42"/>
                    </a:lnTo>
                    <a:lnTo>
                      <a:pt x="21" y="51"/>
                    </a:lnTo>
                    <a:lnTo>
                      <a:pt x="14" y="61"/>
                    </a:lnTo>
                    <a:lnTo>
                      <a:pt x="9" y="72"/>
                    </a:lnTo>
                    <a:lnTo>
                      <a:pt x="5" y="82"/>
                    </a:lnTo>
                    <a:lnTo>
                      <a:pt x="3" y="93"/>
                    </a:lnTo>
                    <a:lnTo>
                      <a:pt x="2" y="105"/>
                    </a:lnTo>
                    <a:lnTo>
                      <a:pt x="0" y="118"/>
                    </a:lnTo>
                    <a:lnTo>
                      <a:pt x="2" y="129"/>
                    </a:lnTo>
                    <a:lnTo>
                      <a:pt x="3" y="141"/>
                    </a:lnTo>
                    <a:lnTo>
                      <a:pt x="5" y="153"/>
                    </a:lnTo>
                    <a:lnTo>
                      <a:pt x="9" y="163"/>
                    </a:lnTo>
                    <a:lnTo>
                      <a:pt x="14" y="173"/>
                    </a:lnTo>
                    <a:lnTo>
                      <a:pt x="21" y="183"/>
                    </a:lnTo>
                    <a:lnTo>
                      <a:pt x="27" y="192"/>
                    </a:lnTo>
                    <a:lnTo>
                      <a:pt x="35" y="201"/>
                    </a:lnTo>
                    <a:lnTo>
                      <a:pt x="44" y="209"/>
                    </a:lnTo>
                    <a:lnTo>
                      <a:pt x="53" y="215"/>
                    </a:lnTo>
                    <a:lnTo>
                      <a:pt x="62" y="221"/>
                    </a:lnTo>
                    <a:lnTo>
                      <a:pt x="72" y="226"/>
                    </a:lnTo>
                    <a:lnTo>
                      <a:pt x="84" y="230"/>
                    </a:lnTo>
                    <a:lnTo>
                      <a:pt x="95" y="233"/>
                    </a:lnTo>
                    <a:lnTo>
                      <a:pt x="107" y="235"/>
                    </a:lnTo>
                    <a:lnTo>
                      <a:pt x="118" y="2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3403"/>
              <p:cNvSpPr>
                <a:spLocks/>
              </p:cNvSpPr>
              <p:nvPr/>
            </p:nvSpPr>
            <p:spPr bwMode="auto">
              <a:xfrm>
                <a:off x="6530975" y="6030913"/>
                <a:ext cx="142875" cy="177800"/>
              </a:xfrm>
              <a:custGeom>
                <a:avLst/>
                <a:gdLst>
                  <a:gd name="T0" fmla="*/ 178 w 361"/>
                  <a:gd name="T1" fmla="*/ 0 h 448"/>
                  <a:gd name="T2" fmla="*/ 169 w 361"/>
                  <a:gd name="T3" fmla="*/ 0 h 448"/>
                  <a:gd name="T4" fmla="*/ 160 w 361"/>
                  <a:gd name="T5" fmla="*/ 1 h 448"/>
                  <a:gd name="T6" fmla="*/ 150 w 361"/>
                  <a:gd name="T7" fmla="*/ 4 h 448"/>
                  <a:gd name="T8" fmla="*/ 141 w 361"/>
                  <a:gd name="T9" fmla="*/ 5 h 448"/>
                  <a:gd name="T10" fmla="*/ 133 w 361"/>
                  <a:gd name="T11" fmla="*/ 9 h 448"/>
                  <a:gd name="T12" fmla="*/ 124 w 361"/>
                  <a:gd name="T13" fmla="*/ 13 h 448"/>
                  <a:gd name="T14" fmla="*/ 115 w 361"/>
                  <a:gd name="T15" fmla="*/ 17 h 448"/>
                  <a:gd name="T16" fmla="*/ 108 w 361"/>
                  <a:gd name="T17" fmla="*/ 22 h 448"/>
                  <a:gd name="T18" fmla="*/ 92 w 361"/>
                  <a:gd name="T19" fmla="*/ 35 h 448"/>
                  <a:gd name="T20" fmla="*/ 77 w 361"/>
                  <a:gd name="T21" fmla="*/ 49 h 448"/>
                  <a:gd name="T22" fmla="*/ 64 w 361"/>
                  <a:gd name="T23" fmla="*/ 65 h 448"/>
                  <a:gd name="T24" fmla="*/ 51 w 361"/>
                  <a:gd name="T25" fmla="*/ 83 h 448"/>
                  <a:gd name="T26" fmla="*/ 40 w 361"/>
                  <a:gd name="T27" fmla="*/ 104 h 448"/>
                  <a:gd name="T28" fmla="*/ 29 w 361"/>
                  <a:gd name="T29" fmla="*/ 127 h 448"/>
                  <a:gd name="T30" fmla="*/ 20 w 361"/>
                  <a:gd name="T31" fmla="*/ 150 h 448"/>
                  <a:gd name="T32" fmla="*/ 14 w 361"/>
                  <a:gd name="T33" fmla="*/ 176 h 448"/>
                  <a:gd name="T34" fmla="*/ 8 w 361"/>
                  <a:gd name="T35" fmla="*/ 203 h 448"/>
                  <a:gd name="T36" fmla="*/ 4 w 361"/>
                  <a:gd name="T37" fmla="*/ 231 h 448"/>
                  <a:gd name="T38" fmla="*/ 1 w 361"/>
                  <a:gd name="T39" fmla="*/ 262 h 448"/>
                  <a:gd name="T40" fmla="*/ 0 w 361"/>
                  <a:gd name="T41" fmla="*/ 293 h 448"/>
                  <a:gd name="T42" fmla="*/ 0 w 361"/>
                  <a:gd name="T43" fmla="*/ 304 h 448"/>
                  <a:gd name="T44" fmla="*/ 108 w 361"/>
                  <a:gd name="T45" fmla="*/ 304 h 448"/>
                  <a:gd name="T46" fmla="*/ 108 w 361"/>
                  <a:gd name="T47" fmla="*/ 448 h 448"/>
                  <a:gd name="T48" fmla="*/ 253 w 361"/>
                  <a:gd name="T49" fmla="*/ 448 h 448"/>
                  <a:gd name="T50" fmla="*/ 253 w 361"/>
                  <a:gd name="T51" fmla="*/ 304 h 448"/>
                  <a:gd name="T52" fmla="*/ 361 w 361"/>
                  <a:gd name="T53" fmla="*/ 304 h 448"/>
                  <a:gd name="T54" fmla="*/ 361 w 361"/>
                  <a:gd name="T55" fmla="*/ 291 h 448"/>
                  <a:gd name="T56" fmla="*/ 359 w 361"/>
                  <a:gd name="T57" fmla="*/ 262 h 448"/>
                  <a:gd name="T58" fmla="*/ 357 w 361"/>
                  <a:gd name="T59" fmla="*/ 231 h 448"/>
                  <a:gd name="T60" fmla="*/ 353 w 361"/>
                  <a:gd name="T61" fmla="*/ 203 h 448"/>
                  <a:gd name="T62" fmla="*/ 347 w 361"/>
                  <a:gd name="T63" fmla="*/ 176 h 448"/>
                  <a:gd name="T64" fmla="*/ 339 w 361"/>
                  <a:gd name="T65" fmla="*/ 150 h 448"/>
                  <a:gd name="T66" fmla="*/ 330 w 361"/>
                  <a:gd name="T67" fmla="*/ 127 h 448"/>
                  <a:gd name="T68" fmla="*/ 320 w 361"/>
                  <a:gd name="T69" fmla="*/ 104 h 448"/>
                  <a:gd name="T70" fmla="*/ 308 w 361"/>
                  <a:gd name="T71" fmla="*/ 83 h 448"/>
                  <a:gd name="T72" fmla="*/ 295 w 361"/>
                  <a:gd name="T73" fmla="*/ 65 h 448"/>
                  <a:gd name="T74" fmla="*/ 281 w 361"/>
                  <a:gd name="T75" fmla="*/ 49 h 448"/>
                  <a:gd name="T76" fmla="*/ 267 w 361"/>
                  <a:gd name="T77" fmla="*/ 35 h 448"/>
                  <a:gd name="T78" fmla="*/ 250 w 361"/>
                  <a:gd name="T79" fmla="*/ 22 h 448"/>
                  <a:gd name="T80" fmla="*/ 243 w 361"/>
                  <a:gd name="T81" fmla="*/ 17 h 448"/>
                  <a:gd name="T82" fmla="*/ 234 w 361"/>
                  <a:gd name="T83" fmla="*/ 13 h 448"/>
                  <a:gd name="T84" fmla="*/ 225 w 361"/>
                  <a:gd name="T85" fmla="*/ 9 h 448"/>
                  <a:gd name="T86" fmla="*/ 216 w 361"/>
                  <a:gd name="T87" fmla="*/ 5 h 448"/>
                  <a:gd name="T88" fmla="*/ 207 w 361"/>
                  <a:gd name="T89" fmla="*/ 4 h 448"/>
                  <a:gd name="T90" fmla="*/ 198 w 361"/>
                  <a:gd name="T91" fmla="*/ 1 h 448"/>
                  <a:gd name="T92" fmla="*/ 189 w 361"/>
                  <a:gd name="T93" fmla="*/ 0 h 448"/>
                  <a:gd name="T94" fmla="*/ 178 w 361"/>
                  <a:gd name="T95" fmla="*/ 0 h 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61" h="448">
                    <a:moveTo>
                      <a:pt x="178" y="0"/>
                    </a:moveTo>
                    <a:lnTo>
                      <a:pt x="169" y="0"/>
                    </a:lnTo>
                    <a:lnTo>
                      <a:pt x="160" y="1"/>
                    </a:lnTo>
                    <a:lnTo>
                      <a:pt x="150" y="4"/>
                    </a:lnTo>
                    <a:lnTo>
                      <a:pt x="141" y="5"/>
                    </a:lnTo>
                    <a:lnTo>
                      <a:pt x="133" y="9"/>
                    </a:lnTo>
                    <a:lnTo>
                      <a:pt x="124" y="13"/>
                    </a:lnTo>
                    <a:lnTo>
                      <a:pt x="115" y="17"/>
                    </a:lnTo>
                    <a:lnTo>
                      <a:pt x="108" y="22"/>
                    </a:lnTo>
                    <a:lnTo>
                      <a:pt x="92" y="35"/>
                    </a:lnTo>
                    <a:lnTo>
                      <a:pt x="77" y="49"/>
                    </a:lnTo>
                    <a:lnTo>
                      <a:pt x="64" y="65"/>
                    </a:lnTo>
                    <a:lnTo>
                      <a:pt x="51" y="83"/>
                    </a:lnTo>
                    <a:lnTo>
                      <a:pt x="40" y="104"/>
                    </a:lnTo>
                    <a:lnTo>
                      <a:pt x="29" y="127"/>
                    </a:lnTo>
                    <a:lnTo>
                      <a:pt x="20" y="150"/>
                    </a:lnTo>
                    <a:lnTo>
                      <a:pt x="14" y="176"/>
                    </a:lnTo>
                    <a:lnTo>
                      <a:pt x="8" y="203"/>
                    </a:lnTo>
                    <a:lnTo>
                      <a:pt x="4" y="231"/>
                    </a:lnTo>
                    <a:lnTo>
                      <a:pt x="1" y="262"/>
                    </a:lnTo>
                    <a:lnTo>
                      <a:pt x="0" y="293"/>
                    </a:lnTo>
                    <a:lnTo>
                      <a:pt x="0" y="304"/>
                    </a:lnTo>
                    <a:lnTo>
                      <a:pt x="108" y="304"/>
                    </a:lnTo>
                    <a:lnTo>
                      <a:pt x="108" y="448"/>
                    </a:lnTo>
                    <a:lnTo>
                      <a:pt x="253" y="448"/>
                    </a:lnTo>
                    <a:lnTo>
                      <a:pt x="253" y="304"/>
                    </a:lnTo>
                    <a:lnTo>
                      <a:pt x="361" y="304"/>
                    </a:lnTo>
                    <a:lnTo>
                      <a:pt x="361" y="291"/>
                    </a:lnTo>
                    <a:lnTo>
                      <a:pt x="359" y="262"/>
                    </a:lnTo>
                    <a:lnTo>
                      <a:pt x="357" y="231"/>
                    </a:lnTo>
                    <a:lnTo>
                      <a:pt x="353" y="203"/>
                    </a:lnTo>
                    <a:lnTo>
                      <a:pt x="347" y="176"/>
                    </a:lnTo>
                    <a:lnTo>
                      <a:pt x="339" y="150"/>
                    </a:lnTo>
                    <a:lnTo>
                      <a:pt x="330" y="127"/>
                    </a:lnTo>
                    <a:lnTo>
                      <a:pt x="320" y="104"/>
                    </a:lnTo>
                    <a:lnTo>
                      <a:pt x="308" y="83"/>
                    </a:lnTo>
                    <a:lnTo>
                      <a:pt x="295" y="65"/>
                    </a:lnTo>
                    <a:lnTo>
                      <a:pt x="281" y="49"/>
                    </a:lnTo>
                    <a:lnTo>
                      <a:pt x="267" y="35"/>
                    </a:lnTo>
                    <a:lnTo>
                      <a:pt x="250" y="22"/>
                    </a:lnTo>
                    <a:lnTo>
                      <a:pt x="243" y="17"/>
                    </a:lnTo>
                    <a:lnTo>
                      <a:pt x="234" y="13"/>
                    </a:lnTo>
                    <a:lnTo>
                      <a:pt x="225" y="9"/>
                    </a:lnTo>
                    <a:lnTo>
                      <a:pt x="216" y="5"/>
                    </a:lnTo>
                    <a:lnTo>
                      <a:pt x="207" y="4"/>
                    </a:lnTo>
                    <a:lnTo>
                      <a:pt x="198" y="1"/>
                    </a:lnTo>
                    <a:lnTo>
                      <a:pt x="189" y="0"/>
                    </a:lnTo>
                    <a:lnTo>
                      <a:pt x="17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cxnSp>
          <p:nvCxnSpPr>
            <p:cNvPr id="72" name="Straight Connector 71"/>
            <p:cNvCxnSpPr/>
            <p:nvPr/>
          </p:nvCxnSpPr>
          <p:spPr>
            <a:xfrm>
              <a:off x="826809" y="4347842"/>
              <a:ext cx="3332441" cy="0"/>
            </a:xfrm>
            <a:prstGeom prst="line">
              <a:avLst/>
            </a:prstGeom>
            <a:ln>
              <a:solidFill>
                <a:srgbClr val="B0F7F4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Text Placeholder 2"/>
            <p:cNvSpPr txBox="1">
              <a:spLocks/>
            </p:cNvSpPr>
            <p:nvPr/>
          </p:nvSpPr>
          <p:spPr>
            <a:xfrm>
              <a:off x="1218991" y="4860083"/>
              <a:ext cx="902050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ct val="100000"/>
                </a:lnSpc>
                <a:spcBef>
                  <a:spcPts val="0"/>
                </a:spcBef>
              </a:pPr>
              <a:r>
                <a:rPr lang="en-US" sz="1000" dirty="0">
                  <a:solidFill>
                    <a:srgbClr val="B0F7F4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REM IPSUM</a:t>
              </a:r>
            </a:p>
          </p:txBody>
        </p:sp>
        <p:sp>
          <p:nvSpPr>
            <p:cNvPr id="75" name="Text Placeholder 2"/>
            <p:cNvSpPr txBox="1">
              <a:spLocks/>
            </p:cNvSpPr>
            <p:nvPr/>
          </p:nvSpPr>
          <p:spPr>
            <a:xfrm>
              <a:off x="2882619" y="4860083"/>
              <a:ext cx="902050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1">
                <a:lnSpc>
                  <a:spcPct val="100000"/>
                </a:lnSpc>
                <a:spcBef>
                  <a:spcPts val="0"/>
                </a:spcBef>
              </a:pPr>
              <a:r>
                <a:rPr lang="en-US" sz="1000" dirty="0">
                  <a:solidFill>
                    <a:srgbClr val="B0F7F4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LOREM IPSUM</a:t>
              </a: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1218991" y="4540102"/>
              <a:ext cx="450444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20%</a:t>
              </a:r>
              <a:endParaRPr lang="en-US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2894335" y="4540102"/>
              <a:ext cx="450444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cy-GB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60%</a:t>
              </a:r>
              <a:endParaRPr lang="en-US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</p:grpSp>
      <p:sp>
        <p:nvSpPr>
          <p:cNvPr id="82" name="Rectangle 48"/>
          <p:cNvSpPr>
            <a:spLocks noChangeArrowheads="1"/>
          </p:cNvSpPr>
          <p:nvPr/>
        </p:nvSpPr>
        <p:spPr bwMode="auto">
          <a:xfrm>
            <a:off x="3110" y="6490546"/>
            <a:ext cx="12188890" cy="367454"/>
          </a:xfrm>
          <a:prstGeom prst="rect">
            <a:avLst/>
          </a:prstGeom>
          <a:gradFill flip="none" rotWithShape="1">
            <a:gsLst>
              <a:gs pos="100000">
                <a:srgbClr val="070C1E"/>
              </a:gs>
              <a:gs pos="0">
                <a:srgbClr val="122141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94155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ChangeArrowheads="1"/>
          </p:cNvSpPr>
          <p:nvPr/>
        </p:nvSpPr>
        <p:spPr bwMode="auto">
          <a:xfrm>
            <a:off x="0" y="0"/>
            <a:ext cx="12188891" cy="6210300"/>
          </a:xfrm>
          <a:prstGeom prst="rect">
            <a:avLst/>
          </a:prstGeom>
          <a:gradFill flip="none" rotWithShape="1">
            <a:gsLst>
              <a:gs pos="36000">
                <a:srgbClr val="09192F"/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Freeform 8"/>
          <p:cNvSpPr>
            <a:spLocks/>
          </p:cNvSpPr>
          <p:nvPr/>
        </p:nvSpPr>
        <p:spPr bwMode="auto">
          <a:xfrm>
            <a:off x="1625922" y="5627804"/>
            <a:ext cx="1173064" cy="582496"/>
          </a:xfrm>
          <a:custGeom>
            <a:avLst/>
            <a:gdLst>
              <a:gd name="T0" fmla="*/ 0 w 872"/>
              <a:gd name="T1" fmla="*/ 433 h 433"/>
              <a:gd name="T2" fmla="*/ 872 w 872"/>
              <a:gd name="T3" fmla="*/ 433 h 433"/>
              <a:gd name="T4" fmla="*/ 440 w 872"/>
              <a:gd name="T5" fmla="*/ 0 h 433"/>
              <a:gd name="T6" fmla="*/ 0 w 872"/>
              <a:gd name="T7" fmla="*/ 433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2" h="433">
                <a:moveTo>
                  <a:pt x="0" y="433"/>
                </a:moveTo>
                <a:lnTo>
                  <a:pt x="872" y="433"/>
                </a:lnTo>
                <a:lnTo>
                  <a:pt x="440" y="0"/>
                </a:lnTo>
                <a:lnTo>
                  <a:pt x="0" y="433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Freeform 6"/>
          <p:cNvSpPr>
            <a:spLocks/>
          </p:cNvSpPr>
          <p:nvPr/>
        </p:nvSpPr>
        <p:spPr bwMode="auto">
          <a:xfrm>
            <a:off x="-200025" y="5247096"/>
            <a:ext cx="1939860" cy="963204"/>
          </a:xfrm>
          <a:custGeom>
            <a:avLst/>
            <a:gdLst>
              <a:gd name="T0" fmla="*/ 0 w 1442"/>
              <a:gd name="T1" fmla="*/ 716 h 716"/>
              <a:gd name="T2" fmla="*/ 1442 w 1442"/>
              <a:gd name="T3" fmla="*/ 716 h 716"/>
              <a:gd name="T4" fmla="*/ 725 w 1442"/>
              <a:gd name="T5" fmla="*/ 0 h 716"/>
              <a:gd name="T6" fmla="*/ 0 w 1442"/>
              <a:gd name="T7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2" h="716">
                <a:moveTo>
                  <a:pt x="0" y="716"/>
                </a:moveTo>
                <a:lnTo>
                  <a:pt x="1442" y="716"/>
                </a:lnTo>
                <a:lnTo>
                  <a:pt x="725" y="0"/>
                </a:lnTo>
                <a:lnTo>
                  <a:pt x="0" y="716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reeform 7"/>
          <p:cNvSpPr>
            <a:spLocks/>
          </p:cNvSpPr>
          <p:nvPr/>
        </p:nvSpPr>
        <p:spPr bwMode="auto">
          <a:xfrm>
            <a:off x="10781752" y="4721101"/>
            <a:ext cx="2995886" cy="1489199"/>
          </a:xfrm>
          <a:custGeom>
            <a:avLst/>
            <a:gdLst>
              <a:gd name="T0" fmla="*/ 0 w 2227"/>
              <a:gd name="T1" fmla="*/ 1107 h 1107"/>
              <a:gd name="T2" fmla="*/ 2227 w 2227"/>
              <a:gd name="T3" fmla="*/ 1107 h 1107"/>
              <a:gd name="T4" fmla="*/ 1121 w 2227"/>
              <a:gd name="T5" fmla="*/ 0 h 1107"/>
              <a:gd name="T6" fmla="*/ 0 w 2227"/>
              <a:gd name="T7" fmla="*/ 1107 h 1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27" h="1107">
                <a:moveTo>
                  <a:pt x="0" y="1107"/>
                </a:moveTo>
                <a:lnTo>
                  <a:pt x="2227" y="1107"/>
                </a:lnTo>
                <a:lnTo>
                  <a:pt x="1121" y="0"/>
                </a:lnTo>
                <a:lnTo>
                  <a:pt x="0" y="1107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Freeform 8"/>
          <p:cNvSpPr>
            <a:spLocks/>
          </p:cNvSpPr>
          <p:nvPr/>
        </p:nvSpPr>
        <p:spPr bwMode="auto">
          <a:xfrm>
            <a:off x="8212883" y="5627804"/>
            <a:ext cx="1173064" cy="582496"/>
          </a:xfrm>
          <a:custGeom>
            <a:avLst/>
            <a:gdLst>
              <a:gd name="T0" fmla="*/ 0 w 872"/>
              <a:gd name="T1" fmla="*/ 433 h 433"/>
              <a:gd name="T2" fmla="*/ 872 w 872"/>
              <a:gd name="T3" fmla="*/ 433 h 433"/>
              <a:gd name="T4" fmla="*/ 440 w 872"/>
              <a:gd name="T5" fmla="*/ 0 h 433"/>
              <a:gd name="T6" fmla="*/ 0 w 872"/>
              <a:gd name="T7" fmla="*/ 433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72" h="433">
                <a:moveTo>
                  <a:pt x="0" y="433"/>
                </a:moveTo>
                <a:lnTo>
                  <a:pt x="872" y="433"/>
                </a:lnTo>
                <a:lnTo>
                  <a:pt x="440" y="0"/>
                </a:lnTo>
                <a:lnTo>
                  <a:pt x="0" y="433"/>
                </a:lnTo>
                <a:close/>
              </a:path>
            </a:pathLst>
          </a:custGeom>
          <a:gradFill flip="none" rotWithShape="1">
            <a:gsLst>
              <a:gs pos="43000">
                <a:srgbClr val="09192F">
                  <a:alpha val="73000"/>
                </a:srgbClr>
              </a:gs>
              <a:gs pos="100000">
                <a:srgbClr val="125680"/>
              </a:gs>
              <a:gs pos="0">
                <a:srgbClr val="070C1E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19"/>
          <p:cNvSpPr>
            <a:spLocks/>
          </p:cNvSpPr>
          <p:nvPr/>
        </p:nvSpPr>
        <p:spPr bwMode="auto">
          <a:xfrm>
            <a:off x="9427288" y="5357407"/>
            <a:ext cx="1717892" cy="852893"/>
          </a:xfrm>
          <a:custGeom>
            <a:avLst/>
            <a:gdLst>
              <a:gd name="T0" fmla="*/ 0 w 1277"/>
              <a:gd name="T1" fmla="*/ 634 h 634"/>
              <a:gd name="T2" fmla="*/ 1277 w 1277"/>
              <a:gd name="T3" fmla="*/ 634 h 634"/>
              <a:gd name="T4" fmla="*/ 641 w 1277"/>
              <a:gd name="T5" fmla="*/ 0 h 634"/>
              <a:gd name="T6" fmla="*/ 0 w 1277"/>
              <a:gd name="T7" fmla="*/ 634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77" h="634">
                <a:moveTo>
                  <a:pt x="0" y="634"/>
                </a:moveTo>
                <a:lnTo>
                  <a:pt x="1277" y="634"/>
                </a:lnTo>
                <a:lnTo>
                  <a:pt x="641" y="0"/>
                </a:lnTo>
                <a:lnTo>
                  <a:pt x="0" y="634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48"/>
          <p:cNvSpPr>
            <a:spLocks noChangeArrowheads="1"/>
          </p:cNvSpPr>
          <p:nvPr/>
        </p:nvSpPr>
        <p:spPr bwMode="auto">
          <a:xfrm>
            <a:off x="0" y="6211815"/>
            <a:ext cx="12188890" cy="646185"/>
          </a:xfrm>
          <a:prstGeom prst="rect">
            <a:avLst/>
          </a:prstGeom>
          <a:gradFill flip="none" rotWithShape="1">
            <a:gsLst>
              <a:gs pos="100000">
                <a:srgbClr val="070C1E"/>
              </a:gs>
              <a:gs pos="0">
                <a:srgbClr val="122141"/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18"/>
          <p:cNvSpPr>
            <a:spLocks/>
          </p:cNvSpPr>
          <p:nvPr/>
        </p:nvSpPr>
        <p:spPr bwMode="auto">
          <a:xfrm>
            <a:off x="1095299" y="5704484"/>
            <a:ext cx="1021050" cy="505816"/>
          </a:xfrm>
          <a:custGeom>
            <a:avLst/>
            <a:gdLst>
              <a:gd name="T0" fmla="*/ 0 w 759"/>
              <a:gd name="T1" fmla="*/ 376 h 376"/>
              <a:gd name="T2" fmla="*/ 759 w 759"/>
              <a:gd name="T3" fmla="*/ 376 h 376"/>
              <a:gd name="T4" fmla="*/ 381 w 759"/>
              <a:gd name="T5" fmla="*/ 0 h 376"/>
              <a:gd name="T6" fmla="*/ 0 w 759"/>
              <a:gd name="T7" fmla="*/ 376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59" h="376">
                <a:moveTo>
                  <a:pt x="0" y="376"/>
                </a:moveTo>
                <a:lnTo>
                  <a:pt x="759" y="376"/>
                </a:lnTo>
                <a:lnTo>
                  <a:pt x="381" y="0"/>
                </a:lnTo>
                <a:lnTo>
                  <a:pt x="0" y="376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51"/>
          <p:cNvSpPr>
            <a:spLocks/>
          </p:cNvSpPr>
          <p:nvPr/>
        </p:nvSpPr>
        <p:spPr bwMode="auto">
          <a:xfrm>
            <a:off x="101072" y="6210300"/>
            <a:ext cx="1304130" cy="647700"/>
          </a:xfrm>
          <a:custGeom>
            <a:avLst/>
            <a:gdLst>
              <a:gd name="T0" fmla="*/ 0 w 747"/>
              <a:gd name="T1" fmla="*/ 0 h 371"/>
              <a:gd name="T2" fmla="*/ 747 w 747"/>
              <a:gd name="T3" fmla="*/ 0 h 371"/>
              <a:gd name="T4" fmla="*/ 376 w 747"/>
              <a:gd name="T5" fmla="*/ 371 h 371"/>
              <a:gd name="T6" fmla="*/ 0 w 747"/>
              <a:gd name="T7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47" h="371">
                <a:moveTo>
                  <a:pt x="0" y="0"/>
                </a:moveTo>
                <a:lnTo>
                  <a:pt x="747" y="0"/>
                </a:lnTo>
                <a:lnTo>
                  <a:pt x="376" y="37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56"/>
          <p:cNvSpPr>
            <a:spLocks/>
          </p:cNvSpPr>
          <p:nvPr/>
        </p:nvSpPr>
        <p:spPr bwMode="auto">
          <a:xfrm>
            <a:off x="1186104" y="6210300"/>
            <a:ext cx="839440" cy="417029"/>
          </a:xfrm>
          <a:custGeom>
            <a:avLst/>
            <a:gdLst>
              <a:gd name="T0" fmla="*/ 0 w 624"/>
              <a:gd name="T1" fmla="*/ 0 h 310"/>
              <a:gd name="T2" fmla="*/ 624 w 624"/>
              <a:gd name="T3" fmla="*/ 0 h 310"/>
              <a:gd name="T4" fmla="*/ 315 w 624"/>
              <a:gd name="T5" fmla="*/ 310 h 310"/>
              <a:gd name="T6" fmla="*/ 0 w 624"/>
              <a:gd name="T7" fmla="*/ 0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24" h="310">
                <a:moveTo>
                  <a:pt x="0" y="0"/>
                </a:moveTo>
                <a:lnTo>
                  <a:pt x="624" y="0"/>
                </a:lnTo>
                <a:lnTo>
                  <a:pt x="315" y="31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3"/>
          <p:cNvSpPr>
            <a:spLocks/>
          </p:cNvSpPr>
          <p:nvPr/>
        </p:nvSpPr>
        <p:spPr bwMode="auto">
          <a:xfrm>
            <a:off x="11273234" y="5876676"/>
            <a:ext cx="671283" cy="333624"/>
          </a:xfrm>
          <a:custGeom>
            <a:avLst/>
            <a:gdLst>
              <a:gd name="T0" fmla="*/ 0 w 499"/>
              <a:gd name="T1" fmla="*/ 248 h 248"/>
              <a:gd name="T2" fmla="*/ 499 w 499"/>
              <a:gd name="T3" fmla="*/ 248 h 248"/>
              <a:gd name="T4" fmla="*/ 250 w 499"/>
              <a:gd name="T5" fmla="*/ 0 h 248"/>
              <a:gd name="T6" fmla="*/ 0 w 499"/>
              <a:gd name="T7" fmla="*/ 248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9" h="248">
                <a:moveTo>
                  <a:pt x="0" y="248"/>
                </a:moveTo>
                <a:lnTo>
                  <a:pt x="499" y="248"/>
                </a:lnTo>
                <a:lnTo>
                  <a:pt x="250" y="0"/>
                </a:lnTo>
                <a:lnTo>
                  <a:pt x="0" y="248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14"/>
          <p:cNvSpPr>
            <a:spLocks/>
          </p:cNvSpPr>
          <p:nvPr/>
        </p:nvSpPr>
        <p:spPr bwMode="auto">
          <a:xfrm>
            <a:off x="9171688" y="5956047"/>
            <a:ext cx="511197" cy="254253"/>
          </a:xfrm>
          <a:custGeom>
            <a:avLst/>
            <a:gdLst>
              <a:gd name="T0" fmla="*/ 0 w 380"/>
              <a:gd name="T1" fmla="*/ 189 h 189"/>
              <a:gd name="T2" fmla="*/ 380 w 380"/>
              <a:gd name="T3" fmla="*/ 189 h 189"/>
              <a:gd name="T4" fmla="*/ 191 w 380"/>
              <a:gd name="T5" fmla="*/ 0 h 189"/>
              <a:gd name="T6" fmla="*/ 0 w 380"/>
              <a:gd name="T7" fmla="*/ 189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0" h="189">
                <a:moveTo>
                  <a:pt x="0" y="189"/>
                </a:moveTo>
                <a:lnTo>
                  <a:pt x="380" y="189"/>
                </a:lnTo>
                <a:lnTo>
                  <a:pt x="191" y="0"/>
                </a:lnTo>
                <a:lnTo>
                  <a:pt x="0" y="189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Freeform 15"/>
          <p:cNvSpPr>
            <a:spLocks/>
          </p:cNvSpPr>
          <p:nvPr/>
        </p:nvSpPr>
        <p:spPr bwMode="auto">
          <a:xfrm>
            <a:off x="8983352" y="6044833"/>
            <a:ext cx="333624" cy="165467"/>
          </a:xfrm>
          <a:custGeom>
            <a:avLst/>
            <a:gdLst>
              <a:gd name="T0" fmla="*/ 0 w 248"/>
              <a:gd name="T1" fmla="*/ 123 h 123"/>
              <a:gd name="T2" fmla="*/ 248 w 248"/>
              <a:gd name="T3" fmla="*/ 123 h 123"/>
              <a:gd name="T4" fmla="*/ 125 w 248"/>
              <a:gd name="T5" fmla="*/ 0 h 123"/>
              <a:gd name="T6" fmla="*/ 0 w 248"/>
              <a:gd name="T7" fmla="*/ 12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8" h="123">
                <a:moveTo>
                  <a:pt x="0" y="123"/>
                </a:moveTo>
                <a:lnTo>
                  <a:pt x="248" y="123"/>
                </a:lnTo>
                <a:lnTo>
                  <a:pt x="125" y="0"/>
                </a:lnTo>
                <a:lnTo>
                  <a:pt x="0" y="123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 16"/>
          <p:cNvSpPr>
            <a:spLocks/>
          </p:cNvSpPr>
          <p:nvPr/>
        </p:nvSpPr>
        <p:spPr bwMode="auto">
          <a:xfrm>
            <a:off x="423473" y="6007166"/>
            <a:ext cx="414339" cy="203134"/>
          </a:xfrm>
          <a:custGeom>
            <a:avLst/>
            <a:gdLst>
              <a:gd name="T0" fmla="*/ 308 w 308"/>
              <a:gd name="T1" fmla="*/ 151 h 151"/>
              <a:gd name="T2" fmla="*/ 0 w 308"/>
              <a:gd name="T3" fmla="*/ 151 h 151"/>
              <a:gd name="T4" fmla="*/ 154 w 308"/>
              <a:gd name="T5" fmla="*/ 0 h 151"/>
              <a:gd name="T6" fmla="*/ 308 w 308"/>
              <a:gd name="T7" fmla="*/ 151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8" h="151">
                <a:moveTo>
                  <a:pt x="308" y="151"/>
                </a:moveTo>
                <a:lnTo>
                  <a:pt x="0" y="151"/>
                </a:lnTo>
                <a:lnTo>
                  <a:pt x="154" y="0"/>
                </a:lnTo>
                <a:lnTo>
                  <a:pt x="308" y="151"/>
                </a:lnTo>
                <a:close/>
              </a:path>
            </a:pathLst>
          </a:custGeom>
          <a:solidFill>
            <a:srgbClr val="0C152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7" name="Group 16"/>
          <p:cNvGrpSpPr/>
          <p:nvPr/>
        </p:nvGrpSpPr>
        <p:grpSpPr>
          <a:xfrm>
            <a:off x="343138" y="4374474"/>
            <a:ext cx="11280295" cy="1200361"/>
            <a:chOff x="343138" y="3531299"/>
            <a:chExt cx="11280295" cy="1200361"/>
          </a:xfrm>
        </p:grpSpPr>
        <p:sp>
          <p:nvSpPr>
            <p:cNvPr id="18" name="Oval 58"/>
            <p:cNvSpPr>
              <a:spLocks noChangeArrowheads="1"/>
            </p:cNvSpPr>
            <p:nvPr/>
          </p:nvSpPr>
          <p:spPr bwMode="auto">
            <a:xfrm>
              <a:off x="2519653" y="4608849"/>
              <a:ext cx="72644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Oval 59"/>
            <p:cNvSpPr>
              <a:spLocks noChangeArrowheads="1"/>
            </p:cNvSpPr>
            <p:nvPr/>
          </p:nvSpPr>
          <p:spPr bwMode="auto">
            <a:xfrm>
              <a:off x="8670110" y="3627291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Oval 60"/>
            <p:cNvSpPr>
              <a:spLocks noChangeArrowheads="1"/>
            </p:cNvSpPr>
            <p:nvPr/>
          </p:nvSpPr>
          <p:spPr bwMode="auto">
            <a:xfrm>
              <a:off x="3280991" y="4553694"/>
              <a:ext cx="73989" cy="73989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Oval 61"/>
            <p:cNvSpPr>
              <a:spLocks noChangeArrowheads="1"/>
            </p:cNvSpPr>
            <p:nvPr/>
          </p:nvSpPr>
          <p:spPr bwMode="auto">
            <a:xfrm>
              <a:off x="814298" y="4182814"/>
              <a:ext cx="72644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Oval 62"/>
            <p:cNvSpPr>
              <a:spLocks noChangeArrowheads="1"/>
            </p:cNvSpPr>
            <p:nvPr/>
          </p:nvSpPr>
          <p:spPr bwMode="auto">
            <a:xfrm>
              <a:off x="1949695" y="4214689"/>
              <a:ext cx="7533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Oval 63"/>
            <p:cNvSpPr>
              <a:spLocks noChangeArrowheads="1"/>
            </p:cNvSpPr>
            <p:nvPr/>
          </p:nvSpPr>
          <p:spPr bwMode="auto">
            <a:xfrm>
              <a:off x="3917805" y="4007520"/>
              <a:ext cx="76680" cy="73989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Oval 64"/>
            <p:cNvSpPr>
              <a:spLocks noChangeArrowheads="1"/>
            </p:cNvSpPr>
            <p:nvPr/>
          </p:nvSpPr>
          <p:spPr bwMode="auto">
            <a:xfrm>
              <a:off x="3346535" y="4022991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65"/>
            <p:cNvSpPr>
              <a:spLocks noChangeArrowheads="1"/>
            </p:cNvSpPr>
            <p:nvPr/>
          </p:nvSpPr>
          <p:spPr bwMode="auto">
            <a:xfrm>
              <a:off x="8212883" y="4514009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Oval 66"/>
            <p:cNvSpPr>
              <a:spLocks noChangeArrowheads="1"/>
            </p:cNvSpPr>
            <p:nvPr/>
          </p:nvSpPr>
          <p:spPr bwMode="auto">
            <a:xfrm>
              <a:off x="1739835" y="3813887"/>
              <a:ext cx="7533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Oval 67"/>
            <p:cNvSpPr>
              <a:spLocks noChangeArrowheads="1"/>
            </p:cNvSpPr>
            <p:nvPr/>
          </p:nvSpPr>
          <p:spPr bwMode="auto">
            <a:xfrm>
              <a:off x="1430594" y="4547846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Oval 68"/>
            <p:cNvSpPr>
              <a:spLocks noChangeArrowheads="1"/>
            </p:cNvSpPr>
            <p:nvPr/>
          </p:nvSpPr>
          <p:spPr bwMode="auto">
            <a:xfrm>
              <a:off x="9253286" y="4654980"/>
              <a:ext cx="73989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Oval 69"/>
            <p:cNvSpPr>
              <a:spLocks noChangeArrowheads="1"/>
            </p:cNvSpPr>
            <p:nvPr/>
          </p:nvSpPr>
          <p:spPr bwMode="auto">
            <a:xfrm>
              <a:off x="11226976" y="4275707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Oval 70"/>
            <p:cNvSpPr>
              <a:spLocks noChangeArrowheads="1"/>
            </p:cNvSpPr>
            <p:nvPr/>
          </p:nvSpPr>
          <p:spPr bwMode="auto">
            <a:xfrm>
              <a:off x="10592967" y="3603943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Oval 71"/>
            <p:cNvSpPr>
              <a:spLocks noChangeArrowheads="1"/>
            </p:cNvSpPr>
            <p:nvPr/>
          </p:nvSpPr>
          <p:spPr bwMode="auto">
            <a:xfrm>
              <a:off x="4509717" y="4424549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Oval 72"/>
            <p:cNvSpPr>
              <a:spLocks noChangeArrowheads="1"/>
            </p:cNvSpPr>
            <p:nvPr/>
          </p:nvSpPr>
          <p:spPr bwMode="auto">
            <a:xfrm>
              <a:off x="7267601" y="4033708"/>
              <a:ext cx="76680" cy="76680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73"/>
            <p:cNvSpPr>
              <a:spLocks noChangeArrowheads="1"/>
            </p:cNvSpPr>
            <p:nvPr/>
          </p:nvSpPr>
          <p:spPr bwMode="auto">
            <a:xfrm>
              <a:off x="343138" y="3812050"/>
              <a:ext cx="72644" cy="7533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Oval 74"/>
            <p:cNvSpPr>
              <a:spLocks noChangeArrowheads="1"/>
            </p:cNvSpPr>
            <p:nvPr/>
          </p:nvSpPr>
          <p:spPr bwMode="auto">
            <a:xfrm>
              <a:off x="2887338" y="3531299"/>
              <a:ext cx="7264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Oval 75"/>
            <p:cNvSpPr>
              <a:spLocks noChangeArrowheads="1"/>
            </p:cNvSpPr>
            <p:nvPr/>
          </p:nvSpPr>
          <p:spPr bwMode="auto">
            <a:xfrm>
              <a:off x="4025425" y="4214689"/>
              <a:ext cx="76680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Oval 76"/>
            <p:cNvSpPr>
              <a:spLocks noChangeArrowheads="1"/>
            </p:cNvSpPr>
            <p:nvPr/>
          </p:nvSpPr>
          <p:spPr bwMode="auto">
            <a:xfrm>
              <a:off x="11549444" y="3846089"/>
              <a:ext cx="73989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Oval 77"/>
            <p:cNvSpPr>
              <a:spLocks noChangeArrowheads="1"/>
            </p:cNvSpPr>
            <p:nvPr/>
          </p:nvSpPr>
          <p:spPr bwMode="auto">
            <a:xfrm>
              <a:off x="9732716" y="4233523"/>
              <a:ext cx="7533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Oval 78"/>
            <p:cNvSpPr>
              <a:spLocks noChangeArrowheads="1"/>
            </p:cNvSpPr>
            <p:nvPr/>
          </p:nvSpPr>
          <p:spPr bwMode="auto">
            <a:xfrm>
              <a:off x="10421719" y="4214689"/>
              <a:ext cx="76680" cy="76680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Oval 79"/>
            <p:cNvSpPr>
              <a:spLocks noChangeArrowheads="1"/>
            </p:cNvSpPr>
            <p:nvPr/>
          </p:nvSpPr>
          <p:spPr bwMode="auto">
            <a:xfrm>
              <a:off x="7895232" y="3739406"/>
              <a:ext cx="73989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Oval 71"/>
            <p:cNvSpPr>
              <a:spLocks noChangeArrowheads="1"/>
            </p:cNvSpPr>
            <p:nvPr/>
          </p:nvSpPr>
          <p:spPr bwMode="auto">
            <a:xfrm>
              <a:off x="6343703" y="4348351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Oval 75"/>
            <p:cNvSpPr>
              <a:spLocks noChangeArrowheads="1"/>
            </p:cNvSpPr>
            <p:nvPr/>
          </p:nvSpPr>
          <p:spPr bwMode="auto">
            <a:xfrm>
              <a:off x="5859411" y="4138491"/>
              <a:ext cx="76680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Oval 71"/>
            <p:cNvSpPr>
              <a:spLocks noChangeArrowheads="1"/>
            </p:cNvSpPr>
            <p:nvPr/>
          </p:nvSpPr>
          <p:spPr bwMode="auto">
            <a:xfrm>
              <a:off x="5025600" y="3875499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Oval 79"/>
            <p:cNvSpPr>
              <a:spLocks noChangeArrowheads="1"/>
            </p:cNvSpPr>
            <p:nvPr/>
          </p:nvSpPr>
          <p:spPr bwMode="auto">
            <a:xfrm>
              <a:off x="6269714" y="3723255"/>
              <a:ext cx="73989" cy="7264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Oval 74"/>
            <p:cNvSpPr>
              <a:spLocks noChangeArrowheads="1"/>
            </p:cNvSpPr>
            <p:nvPr/>
          </p:nvSpPr>
          <p:spPr bwMode="auto">
            <a:xfrm>
              <a:off x="5254903" y="4326904"/>
              <a:ext cx="72644" cy="75334"/>
            </a:xfrm>
            <a:prstGeom prst="ellipse">
              <a:avLst/>
            </a:prstGeom>
            <a:solidFill>
              <a:srgbClr val="B0F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Oval 70"/>
            <p:cNvSpPr>
              <a:spLocks noChangeArrowheads="1"/>
            </p:cNvSpPr>
            <p:nvPr/>
          </p:nvSpPr>
          <p:spPr bwMode="auto">
            <a:xfrm>
              <a:off x="7267601" y="4546076"/>
              <a:ext cx="72644" cy="72644"/>
            </a:xfrm>
            <a:prstGeom prst="ellipse">
              <a:avLst/>
            </a:prstGeom>
            <a:solidFill>
              <a:srgbClr val="125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0" name="Freeform 56"/>
          <p:cNvSpPr>
            <a:spLocks/>
          </p:cNvSpPr>
          <p:nvPr/>
        </p:nvSpPr>
        <p:spPr bwMode="auto">
          <a:xfrm>
            <a:off x="9676331" y="6210300"/>
            <a:ext cx="1351446" cy="671391"/>
          </a:xfrm>
          <a:custGeom>
            <a:avLst/>
            <a:gdLst>
              <a:gd name="T0" fmla="*/ 0 w 624"/>
              <a:gd name="T1" fmla="*/ 0 h 310"/>
              <a:gd name="T2" fmla="*/ 624 w 624"/>
              <a:gd name="T3" fmla="*/ 0 h 310"/>
              <a:gd name="T4" fmla="*/ 315 w 624"/>
              <a:gd name="T5" fmla="*/ 310 h 310"/>
              <a:gd name="T6" fmla="*/ 0 w 624"/>
              <a:gd name="T7" fmla="*/ 0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24" h="310">
                <a:moveTo>
                  <a:pt x="0" y="0"/>
                </a:moveTo>
                <a:lnTo>
                  <a:pt x="624" y="0"/>
                </a:lnTo>
                <a:lnTo>
                  <a:pt x="315" y="31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Freeform 56"/>
          <p:cNvSpPr>
            <a:spLocks/>
          </p:cNvSpPr>
          <p:nvPr/>
        </p:nvSpPr>
        <p:spPr bwMode="auto">
          <a:xfrm>
            <a:off x="11067460" y="6210300"/>
            <a:ext cx="2107195" cy="1046843"/>
          </a:xfrm>
          <a:custGeom>
            <a:avLst/>
            <a:gdLst>
              <a:gd name="T0" fmla="*/ 0 w 624"/>
              <a:gd name="T1" fmla="*/ 0 h 310"/>
              <a:gd name="T2" fmla="*/ 624 w 624"/>
              <a:gd name="T3" fmla="*/ 0 h 310"/>
              <a:gd name="T4" fmla="*/ 315 w 624"/>
              <a:gd name="T5" fmla="*/ 310 h 310"/>
              <a:gd name="T6" fmla="*/ 0 w 624"/>
              <a:gd name="T7" fmla="*/ 0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24" h="310">
                <a:moveTo>
                  <a:pt x="0" y="0"/>
                </a:moveTo>
                <a:lnTo>
                  <a:pt x="624" y="0"/>
                </a:lnTo>
                <a:lnTo>
                  <a:pt x="315" y="31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TextBox 41"/>
          <p:cNvSpPr txBox="1"/>
          <p:nvPr/>
        </p:nvSpPr>
        <p:spPr>
          <a:xfrm>
            <a:off x="826809" y="589490"/>
            <a:ext cx="2180084" cy="61555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cy-GB" sz="4000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OPTIONS</a:t>
            </a:r>
            <a:endParaRPr lang="en-US" sz="4000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 rot="2700000">
            <a:off x="1360399" y="1827616"/>
            <a:ext cx="1130013" cy="1130013"/>
          </a:xfrm>
          <a:prstGeom prst="rect">
            <a:avLst/>
          </a:prstGeom>
          <a:gradFill flip="none" rotWithShape="1">
            <a:gsLst>
              <a:gs pos="100000">
                <a:srgbClr val="4186A2"/>
              </a:gs>
              <a:gs pos="0">
                <a:srgbClr val="B0F7F4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131" name="Rectangle 130"/>
          <p:cNvSpPr/>
          <p:nvPr/>
        </p:nvSpPr>
        <p:spPr>
          <a:xfrm rot="2700000">
            <a:off x="1539096" y="2006313"/>
            <a:ext cx="772618" cy="772618"/>
          </a:xfrm>
          <a:prstGeom prst="rect">
            <a:avLst/>
          </a:prstGeom>
          <a:gradFill flip="none" rotWithShape="1">
            <a:gsLst>
              <a:gs pos="100000">
                <a:srgbClr val="4186A2"/>
              </a:gs>
              <a:gs pos="0">
                <a:srgbClr val="B0F7F4"/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44" name="Snip Diagonal Corner Rectangle 43"/>
          <p:cNvSpPr/>
          <p:nvPr/>
        </p:nvSpPr>
        <p:spPr>
          <a:xfrm flipH="1">
            <a:off x="829174" y="2569363"/>
            <a:ext cx="2192462" cy="3756273"/>
          </a:xfrm>
          <a:prstGeom prst="snip2DiagRect">
            <a:avLst>
              <a:gd name="adj1" fmla="val 0"/>
              <a:gd name="adj2" fmla="val 21555"/>
            </a:avLst>
          </a:prstGeom>
          <a:gradFill flip="none" rotWithShape="1">
            <a:gsLst>
              <a:gs pos="100000">
                <a:srgbClr val="69AFC0"/>
              </a:gs>
              <a:gs pos="0">
                <a:srgbClr val="125680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48" name="Freeform 47"/>
          <p:cNvSpPr/>
          <p:nvPr/>
        </p:nvSpPr>
        <p:spPr>
          <a:xfrm rot="18900000" flipH="1">
            <a:off x="1360399" y="1827616"/>
            <a:ext cx="1130013" cy="1130013"/>
          </a:xfrm>
          <a:custGeom>
            <a:avLst/>
            <a:gdLst>
              <a:gd name="connsiteX0" fmla="*/ 0 w 1130013"/>
              <a:gd name="connsiteY0" fmla="*/ 0 h 1130013"/>
              <a:gd name="connsiteX1" fmla="*/ 6598 w 1130013"/>
              <a:gd name="connsiteY1" fmla="*/ 0 h 1130013"/>
              <a:gd name="connsiteX2" fmla="*/ 1130013 w 1130013"/>
              <a:gd name="connsiteY2" fmla="*/ 1123415 h 1130013"/>
              <a:gd name="connsiteX3" fmla="*/ 1130013 w 1130013"/>
              <a:gd name="connsiteY3" fmla="*/ 1130013 h 1130013"/>
              <a:gd name="connsiteX4" fmla="*/ 0 w 1130013"/>
              <a:gd name="connsiteY4" fmla="*/ 1130013 h 1130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0013" h="1130013">
                <a:moveTo>
                  <a:pt x="0" y="0"/>
                </a:moveTo>
                <a:lnTo>
                  <a:pt x="6598" y="0"/>
                </a:lnTo>
                <a:lnTo>
                  <a:pt x="1130013" y="1123415"/>
                </a:lnTo>
                <a:lnTo>
                  <a:pt x="1130013" y="1130013"/>
                </a:lnTo>
                <a:lnTo>
                  <a:pt x="0" y="1130013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49" name="Text Placeholder 2"/>
          <p:cNvSpPr txBox="1">
            <a:spLocks/>
          </p:cNvSpPr>
          <p:nvPr/>
        </p:nvSpPr>
        <p:spPr>
          <a:xfrm>
            <a:off x="1126364" y="3554985"/>
            <a:ext cx="159808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</a:t>
            </a:r>
          </a:p>
        </p:txBody>
      </p:sp>
      <p:sp>
        <p:nvSpPr>
          <p:cNvPr id="50" name="Text Placeholder 2"/>
          <p:cNvSpPr txBox="1">
            <a:spLocks/>
          </p:cNvSpPr>
          <p:nvPr/>
        </p:nvSpPr>
        <p:spPr>
          <a:xfrm>
            <a:off x="1125356" y="3959770"/>
            <a:ext cx="1600098" cy="10674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 Lorem Ipsum has been the industry's</a:t>
            </a:r>
          </a:p>
        </p:txBody>
      </p:sp>
      <p:grpSp>
        <p:nvGrpSpPr>
          <p:cNvPr id="62" name="Group 61"/>
          <p:cNvGrpSpPr/>
          <p:nvPr/>
        </p:nvGrpSpPr>
        <p:grpSpPr>
          <a:xfrm>
            <a:off x="1707282" y="5347436"/>
            <a:ext cx="436246" cy="626668"/>
            <a:chOff x="10502900" y="815975"/>
            <a:chExt cx="200025" cy="287338"/>
          </a:xfrm>
          <a:solidFill>
            <a:srgbClr val="B0F7F4"/>
          </a:solidFill>
          <a:effectLst/>
        </p:grpSpPr>
        <p:sp>
          <p:nvSpPr>
            <p:cNvPr id="63" name="Freeform 2127"/>
            <p:cNvSpPr>
              <a:spLocks/>
            </p:cNvSpPr>
            <p:nvPr/>
          </p:nvSpPr>
          <p:spPr bwMode="auto">
            <a:xfrm>
              <a:off x="10502900" y="815975"/>
              <a:ext cx="200025" cy="201613"/>
            </a:xfrm>
            <a:custGeom>
              <a:avLst/>
              <a:gdLst>
                <a:gd name="T0" fmla="*/ 284 w 632"/>
                <a:gd name="T1" fmla="*/ 3 h 632"/>
                <a:gd name="T2" fmla="*/ 237 w 632"/>
                <a:gd name="T3" fmla="*/ 10 h 632"/>
                <a:gd name="T4" fmla="*/ 193 w 632"/>
                <a:gd name="T5" fmla="*/ 26 h 632"/>
                <a:gd name="T6" fmla="*/ 152 w 632"/>
                <a:gd name="T7" fmla="*/ 47 h 632"/>
                <a:gd name="T8" fmla="*/ 115 w 632"/>
                <a:gd name="T9" fmla="*/ 72 h 632"/>
                <a:gd name="T10" fmla="*/ 82 w 632"/>
                <a:gd name="T11" fmla="*/ 104 h 632"/>
                <a:gd name="T12" fmla="*/ 54 w 632"/>
                <a:gd name="T13" fmla="*/ 139 h 632"/>
                <a:gd name="T14" fmla="*/ 31 w 632"/>
                <a:gd name="T15" fmla="*/ 180 h 632"/>
                <a:gd name="T16" fmla="*/ 14 w 632"/>
                <a:gd name="T17" fmla="*/ 222 h 632"/>
                <a:gd name="T18" fmla="*/ 4 w 632"/>
                <a:gd name="T19" fmla="*/ 269 h 632"/>
                <a:gd name="T20" fmla="*/ 0 w 632"/>
                <a:gd name="T21" fmla="*/ 316 h 632"/>
                <a:gd name="T22" fmla="*/ 3 w 632"/>
                <a:gd name="T23" fmla="*/ 363 h 632"/>
                <a:gd name="T24" fmla="*/ 14 w 632"/>
                <a:gd name="T25" fmla="*/ 407 h 632"/>
                <a:gd name="T26" fmla="*/ 30 w 632"/>
                <a:gd name="T27" fmla="*/ 450 h 632"/>
                <a:gd name="T28" fmla="*/ 50 w 632"/>
                <a:gd name="T29" fmla="*/ 489 h 632"/>
                <a:gd name="T30" fmla="*/ 77 w 632"/>
                <a:gd name="T31" fmla="*/ 523 h 632"/>
                <a:gd name="T32" fmla="*/ 109 w 632"/>
                <a:gd name="T33" fmla="*/ 555 h 632"/>
                <a:gd name="T34" fmla="*/ 144 w 632"/>
                <a:gd name="T35" fmla="*/ 581 h 632"/>
                <a:gd name="T36" fmla="*/ 183 w 632"/>
                <a:gd name="T37" fmla="*/ 602 h 632"/>
                <a:gd name="T38" fmla="*/ 225 w 632"/>
                <a:gd name="T39" fmla="*/ 618 h 632"/>
                <a:gd name="T40" fmla="*/ 270 w 632"/>
                <a:gd name="T41" fmla="*/ 628 h 632"/>
                <a:gd name="T42" fmla="*/ 301 w 632"/>
                <a:gd name="T43" fmla="*/ 473 h 632"/>
                <a:gd name="T44" fmla="*/ 256 w 632"/>
                <a:gd name="T45" fmla="*/ 512 h 632"/>
                <a:gd name="T46" fmla="*/ 185 w 632"/>
                <a:gd name="T47" fmla="*/ 447 h 632"/>
                <a:gd name="T48" fmla="*/ 181 w 632"/>
                <a:gd name="T49" fmla="*/ 431 h 632"/>
                <a:gd name="T50" fmla="*/ 196 w 632"/>
                <a:gd name="T51" fmla="*/ 421 h 632"/>
                <a:gd name="T52" fmla="*/ 256 w 632"/>
                <a:gd name="T53" fmla="*/ 475 h 632"/>
                <a:gd name="T54" fmla="*/ 309 w 632"/>
                <a:gd name="T55" fmla="*/ 423 h 632"/>
                <a:gd name="T56" fmla="*/ 319 w 632"/>
                <a:gd name="T57" fmla="*/ 421 h 632"/>
                <a:gd name="T58" fmla="*/ 326 w 632"/>
                <a:gd name="T59" fmla="*/ 426 h 632"/>
                <a:gd name="T60" fmla="*/ 430 w 632"/>
                <a:gd name="T61" fmla="*/ 423 h 632"/>
                <a:gd name="T62" fmla="*/ 446 w 632"/>
                <a:gd name="T63" fmla="*/ 426 h 632"/>
                <a:gd name="T64" fmla="*/ 450 w 632"/>
                <a:gd name="T65" fmla="*/ 442 h 632"/>
                <a:gd name="T66" fmla="*/ 381 w 632"/>
                <a:gd name="T67" fmla="*/ 511 h 632"/>
                <a:gd name="T68" fmla="*/ 365 w 632"/>
                <a:gd name="T69" fmla="*/ 507 h 632"/>
                <a:gd name="T70" fmla="*/ 346 w 632"/>
                <a:gd name="T71" fmla="*/ 630 h 632"/>
                <a:gd name="T72" fmla="*/ 391 w 632"/>
                <a:gd name="T73" fmla="*/ 623 h 632"/>
                <a:gd name="T74" fmla="*/ 434 w 632"/>
                <a:gd name="T75" fmla="*/ 608 h 632"/>
                <a:gd name="T76" fmla="*/ 474 w 632"/>
                <a:gd name="T77" fmla="*/ 589 h 632"/>
                <a:gd name="T78" fmla="*/ 511 w 632"/>
                <a:gd name="T79" fmla="*/ 564 h 632"/>
                <a:gd name="T80" fmla="*/ 544 w 632"/>
                <a:gd name="T81" fmla="*/ 534 h 632"/>
                <a:gd name="T82" fmla="*/ 572 w 632"/>
                <a:gd name="T83" fmla="*/ 501 h 632"/>
                <a:gd name="T84" fmla="*/ 595 w 632"/>
                <a:gd name="T85" fmla="*/ 463 h 632"/>
                <a:gd name="T86" fmla="*/ 613 w 632"/>
                <a:gd name="T87" fmla="*/ 421 h 632"/>
                <a:gd name="T88" fmla="*/ 626 w 632"/>
                <a:gd name="T89" fmla="*/ 378 h 632"/>
                <a:gd name="T90" fmla="*/ 631 w 632"/>
                <a:gd name="T91" fmla="*/ 332 h 632"/>
                <a:gd name="T92" fmla="*/ 629 w 632"/>
                <a:gd name="T93" fmla="*/ 283 h 632"/>
                <a:gd name="T94" fmla="*/ 622 w 632"/>
                <a:gd name="T95" fmla="*/ 237 h 632"/>
                <a:gd name="T96" fmla="*/ 606 w 632"/>
                <a:gd name="T97" fmla="*/ 193 h 632"/>
                <a:gd name="T98" fmla="*/ 585 w 632"/>
                <a:gd name="T99" fmla="*/ 153 h 632"/>
                <a:gd name="T100" fmla="*/ 560 w 632"/>
                <a:gd name="T101" fmla="*/ 115 h 632"/>
                <a:gd name="T102" fmla="*/ 528 w 632"/>
                <a:gd name="T103" fmla="*/ 82 h 632"/>
                <a:gd name="T104" fmla="*/ 492 w 632"/>
                <a:gd name="T105" fmla="*/ 54 h 632"/>
                <a:gd name="T106" fmla="*/ 452 w 632"/>
                <a:gd name="T107" fmla="*/ 32 h 632"/>
                <a:gd name="T108" fmla="*/ 409 w 632"/>
                <a:gd name="T109" fmla="*/ 15 h 632"/>
                <a:gd name="T110" fmla="*/ 364 w 632"/>
                <a:gd name="T111" fmla="*/ 4 h 632"/>
                <a:gd name="T112" fmla="*/ 315 w 632"/>
                <a:gd name="T113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32" h="632">
                  <a:moveTo>
                    <a:pt x="315" y="0"/>
                  </a:moveTo>
                  <a:lnTo>
                    <a:pt x="299" y="1"/>
                  </a:lnTo>
                  <a:lnTo>
                    <a:pt x="284" y="3"/>
                  </a:lnTo>
                  <a:lnTo>
                    <a:pt x="268" y="4"/>
                  </a:lnTo>
                  <a:lnTo>
                    <a:pt x="252" y="6"/>
                  </a:lnTo>
                  <a:lnTo>
                    <a:pt x="237" y="10"/>
                  </a:lnTo>
                  <a:lnTo>
                    <a:pt x="221" y="15"/>
                  </a:lnTo>
                  <a:lnTo>
                    <a:pt x="207" y="20"/>
                  </a:lnTo>
                  <a:lnTo>
                    <a:pt x="193" y="26"/>
                  </a:lnTo>
                  <a:lnTo>
                    <a:pt x="179" y="32"/>
                  </a:lnTo>
                  <a:lnTo>
                    <a:pt x="165" y="38"/>
                  </a:lnTo>
                  <a:lnTo>
                    <a:pt x="152" y="47"/>
                  </a:lnTo>
                  <a:lnTo>
                    <a:pt x="139" y="54"/>
                  </a:lnTo>
                  <a:lnTo>
                    <a:pt x="127" y="64"/>
                  </a:lnTo>
                  <a:lnTo>
                    <a:pt x="115" y="72"/>
                  </a:lnTo>
                  <a:lnTo>
                    <a:pt x="103" y="82"/>
                  </a:lnTo>
                  <a:lnTo>
                    <a:pt x="92" y="93"/>
                  </a:lnTo>
                  <a:lnTo>
                    <a:pt x="82" y="104"/>
                  </a:lnTo>
                  <a:lnTo>
                    <a:pt x="72" y="115"/>
                  </a:lnTo>
                  <a:lnTo>
                    <a:pt x="63" y="127"/>
                  </a:lnTo>
                  <a:lnTo>
                    <a:pt x="54" y="139"/>
                  </a:lnTo>
                  <a:lnTo>
                    <a:pt x="45" y="153"/>
                  </a:lnTo>
                  <a:lnTo>
                    <a:pt x="38" y="166"/>
                  </a:lnTo>
                  <a:lnTo>
                    <a:pt x="31" y="180"/>
                  </a:lnTo>
                  <a:lnTo>
                    <a:pt x="25" y="193"/>
                  </a:lnTo>
                  <a:lnTo>
                    <a:pt x="19" y="208"/>
                  </a:lnTo>
                  <a:lnTo>
                    <a:pt x="14" y="222"/>
                  </a:lnTo>
                  <a:lnTo>
                    <a:pt x="10" y="237"/>
                  </a:lnTo>
                  <a:lnTo>
                    <a:pt x="6" y="253"/>
                  </a:lnTo>
                  <a:lnTo>
                    <a:pt x="4" y="269"/>
                  </a:lnTo>
                  <a:lnTo>
                    <a:pt x="1" y="283"/>
                  </a:lnTo>
                  <a:lnTo>
                    <a:pt x="0" y="301"/>
                  </a:lnTo>
                  <a:lnTo>
                    <a:pt x="0" y="316"/>
                  </a:lnTo>
                  <a:lnTo>
                    <a:pt x="0" y="332"/>
                  </a:lnTo>
                  <a:lnTo>
                    <a:pt x="1" y="347"/>
                  </a:lnTo>
                  <a:lnTo>
                    <a:pt x="3" y="363"/>
                  </a:lnTo>
                  <a:lnTo>
                    <a:pt x="6" y="378"/>
                  </a:lnTo>
                  <a:lnTo>
                    <a:pt x="9" y="393"/>
                  </a:lnTo>
                  <a:lnTo>
                    <a:pt x="14" y="407"/>
                  </a:lnTo>
                  <a:lnTo>
                    <a:pt x="17" y="421"/>
                  </a:lnTo>
                  <a:lnTo>
                    <a:pt x="23" y="436"/>
                  </a:lnTo>
                  <a:lnTo>
                    <a:pt x="30" y="450"/>
                  </a:lnTo>
                  <a:lnTo>
                    <a:pt x="36" y="463"/>
                  </a:lnTo>
                  <a:lnTo>
                    <a:pt x="43" y="475"/>
                  </a:lnTo>
                  <a:lnTo>
                    <a:pt x="50" y="489"/>
                  </a:lnTo>
                  <a:lnTo>
                    <a:pt x="59" y="501"/>
                  </a:lnTo>
                  <a:lnTo>
                    <a:pt x="69" y="512"/>
                  </a:lnTo>
                  <a:lnTo>
                    <a:pt x="77" y="523"/>
                  </a:lnTo>
                  <a:lnTo>
                    <a:pt x="87" y="534"/>
                  </a:lnTo>
                  <a:lnTo>
                    <a:pt x="98" y="545"/>
                  </a:lnTo>
                  <a:lnTo>
                    <a:pt x="109" y="555"/>
                  </a:lnTo>
                  <a:lnTo>
                    <a:pt x="120" y="564"/>
                  </a:lnTo>
                  <a:lnTo>
                    <a:pt x="132" y="573"/>
                  </a:lnTo>
                  <a:lnTo>
                    <a:pt x="144" y="581"/>
                  </a:lnTo>
                  <a:lnTo>
                    <a:pt x="157" y="589"/>
                  </a:lnTo>
                  <a:lnTo>
                    <a:pt x="170" y="596"/>
                  </a:lnTo>
                  <a:lnTo>
                    <a:pt x="183" y="602"/>
                  </a:lnTo>
                  <a:lnTo>
                    <a:pt x="197" y="608"/>
                  </a:lnTo>
                  <a:lnTo>
                    <a:pt x="210" y="613"/>
                  </a:lnTo>
                  <a:lnTo>
                    <a:pt x="225" y="618"/>
                  </a:lnTo>
                  <a:lnTo>
                    <a:pt x="240" y="623"/>
                  </a:lnTo>
                  <a:lnTo>
                    <a:pt x="254" y="625"/>
                  </a:lnTo>
                  <a:lnTo>
                    <a:pt x="270" y="628"/>
                  </a:lnTo>
                  <a:lnTo>
                    <a:pt x="285" y="630"/>
                  </a:lnTo>
                  <a:lnTo>
                    <a:pt x="301" y="632"/>
                  </a:lnTo>
                  <a:lnTo>
                    <a:pt x="301" y="473"/>
                  </a:lnTo>
                  <a:lnTo>
                    <a:pt x="267" y="507"/>
                  </a:lnTo>
                  <a:lnTo>
                    <a:pt x="262" y="511"/>
                  </a:lnTo>
                  <a:lnTo>
                    <a:pt x="256" y="512"/>
                  </a:lnTo>
                  <a:lnTo>
                    <a:pt x="249" y="511"/>
                  </a:lnTo>
                  <a:lnTo>
                    <a:pt x="245" y="507"/>
                  </a:lnTo>
                  <a:lnTo>
                    <a:pt x="185" y="447"/>
                  </a:lnTo>
                  <a:lnTo>
                    <a:pt x="181" y="442"/>
                  </a:lnTo>
                  <a:lnTo>
                    <a:pt x="180" y="436"/>
                  </a:lnTo>
                  <a:lnTo>
                    <a:pt x="181" y="431"/>
                  </a:lnTo>
                  <a:lnTo>
                    <a:pt x="185" y="426"/>
                  </a:lnTo>
                  <a:lnTo>
                    <a:pt x="190" y="423"/>
                  </a:lnTo>
                  <a:lnTo>
                    <a:pt x="196" y="421"/>
                  </a:lnTo>
                  <a:lnTo>
                    <a:pt x="201" y="423"/>
                  </a:lnTo>
                  <a:lnTo>
                    <a:pt x="205" y="426"/>
                  </a:lnTo>
                  <a:lnTo>
                    <a:pt x="256" y="475"/>
                  </a:lnTo>
                  <a:lnTo>
                    <a:pt x="304" y="426"/>
                  </a:lnTo>
                  <a:lnTo>
                    <a:pt x="307" y="424"/>
                  </a:lnTo>
                  <a:lnTo>
                    <a:pt x="309" y="423"/>
                  </a:lnTo>
                  <a:lnTo>
                    <a:pt x="313" y="421"/>
                  </a:lnTo>
                  <a:lnTo>
                    <a:pt x="315" y="421"/>
                  </a:lnTo>
                  <a:lnTo>
                    <a:pt x="319" y="421"/>
                  </a:lnTo>
                  <a:lnTo>
                    <a:pt x="321" y="423"/>
                  </a:lnTo>
                  <a:lnTo>
                    <a:pt x="324" y="424"/>
                  </a:lnTo>
                  <a:lnTo>
                    <a:pt x="326" y="426"/>
                  </a:lnTo>
                  <a:lnTo>
                    <a:pt x="375" y="475"/>
                  </a:lnTo>
                  <a:lnTo>
                    <a:pt x="425" y="426"/>
                  </a:lnTo>
                  <a:lnTo>
                    <a:pt x="430" y="423"/>
                  </a:lnTo>
                  <a:lnTo>
                    <a:pt x="436" y="421"/>
                  </a:lnTo>
                  <a:lnTo>
                    <a:pt x="441" y="423"/>
                  </a:lnTo>
                  <a:lnTo>
                    <a:pt x="446" y="426"/>
                  </a:lnTo>
                  <a:lnTo>
                    <a:pt x="450" y="431"/>
                  </a:lnTo>
                  <a:lnTo>
                    <a:pt x="451" y="436"/>
                  </a:lnTo>
                  <a:lnTo>
                    <a:pt x="450" y="442"/>
                  </a:lnTo>
                  <a:lnTo>
                    <a:pt x="446" y="447"/>
                  </a:lnTo>
                  <a:lnTo>
                    <a:pt x="386" y="507"/>
                  </a:lnTo>
                  <a:lnTo>
                    <a:pt x="381" y="511"/>
                  </a:lnTo>
                  <a:lnTo>
                    <a:pt x="375" y="512"/>
                  </a:lnTo>
                  <a:lnTo>
                    <a:pt x="370" y="511"/>
                  </a:lnTo>
                  <a:lnTo>
                    <a:pt x="365" y="507"/>
                  </a:lnTo>
                  <a:lnTo>
                    <a:pt x="330" y="473"/>
                  </a:lnTo>
                  <a:lnTo>
                    <a:pt x="330" y="632"/>
                  </a:lnTo>
                  <a:lnTo>
                    <a:pt x="346" y="630"/>
                  </a:lnTo>
                  <a:lnTo>
                    <a:pt x="362" y="628"/>
                  </a:lnTo>
                  <a:lnTo>
                    <a:pt x="376" y="625"/>
                  </a:lnTo>
                  <a:lnTo>
                    <a:pt x="391" y="623"/>
                  </a:lnTo>
                  <a:lnTo>
                    <a:pt x="406" y="618"/>
                  </a:lnTo>
                  <a:lnTo>
                    <a:pt x="420" y="613"/>
                  </a:lnTo>
                  <a:lnTo>
                    <a:pt x="434" y="608"/>
                  </a:lnTo>
                  <a:lnTo>
                    <a:pt x="449" y="602"/>
                  </a:lnTo>
                  <a:lnTo>
                    <a:pt x="462" y="596"/>
                  </a:lnTo>
                  <a:lnTo>
                    <a:pt x="474" y="589"/>
                  </a:lnTo>
                  <a:lnTo>
                    <a:pt x="488" y="581"/>
                  </a:lnTo>
                  <a:lnTo>
                    <a:pt x="500" y="573"/>
                  </a:lnTo>
                  <a:lnTo>
                    <a:pt x="511" y="564"/>
                  </a:lnTo>
                  <a:lnTo>
                    <a:pt x="522" y="555"/>
                  </a:lnTo>
                  <a:lnTo>
                    <a:pt x="533" y="545"/>
                  </a:lnTo>
                  <a:lnTo>
                    <a:pt x="544" y="534"/>
                  </a:lnTo>
                  <a:lnTo>
                    <a:pt x="554" y="523"/>
                  </a:lnTo>
                  <a:lnTo>
                    <a:pt x="563" y="512"/>
                  </a:lnTo>
                  <a:lnTo>
                    <a:pt x="572" y="501"/>
                  </a:lnTo>
                  <a:lnTo>
                    <a:pt x="580" y="489"/>
                  </a:lnTo>
                  <a:lnTo>
                    <a:pt x="588" y="475"/>
                  </a:lnTo>
                  <a:lnTo>
                    <a:pt x="595" y="463"/>
                  </a:lnTo>
                  <a:lnTo>
                    <a:pt x="602" y="450"/>
                  </a:lnTo>
                  <a:lnTo>
                    <a:pt x="609" y="436"/>
                  </a:lnTo>
                  <a:lnTo>
                    <a:pt x="613" y="421"/>
                  </a:lnTo>
                  <a:lnTo>
                    <a:pt x="618" y="408"/>
                  </a:lnTo>
                  <a:lnTo>
                    <a:pt x="622" y="393"/>
                  </a:lnTo>
                  <a:lnTo>
                    <a:pt x="626" y="378"/>
                  </a:lnTo>
                  <a:lnTo>
                    <a:pt x="628" y="363"/>
                  </a:lnTo>
                  <a:lnTo>
                    <a:pt x="631" y="347"/>
                  </a:lnTo>
                  <a:lnTo>
                    <a:pt x="631" y="332"/>
                  </a:lnTo>
                  <a:lnTo>
                    <a:pt x="632" y="316"/>
                  </a:lnTo>
                  <a:lnTo>
                    <a:pt x="631" y="301"/>
                  </a:lnTo>
                  <a:lnTo>
                    <a:pt x="629" y="283"/>
                  </a:lnTo>
                  <a:lnTo>
                    <a:pt x="628" y="269"/>
                  </a:lnTo>
                  <a:lnTo>
                    <a:pt x="626" y="253"/>
                  </a:lnTo>
                  <a:lnTo>
                    <a:pt x="622" y="237"/>
                  </a:lnTo>
                  <a:lnTo>
                    <a:pt x="617" y="222"/>
                  </a:lnTo>
                  <a:lnTo>
                    <a:pt x="612" y="208"/>
                  </a:lnTo>
                  <a:lnTo>
                    <a:pt x="606" y="193"/>
                  </a:lnTo>
                  <a:lnTo>
                    <a:pt x="600" y="180"/>
                  </a:lnTo>
                  <a:lnTo>
                    <a:pt x="594" y="166"/>
                  </a:lnTo>
                  <a:lnTo>
                    <a:pt x="585" y="153"/>
                  </a:lnTo>
                  <a:lnTo>
                    <a:pt x="578" y="139"/>
                  </a:lnTo>
                  <a:lnTo>
                    <a:pt x="568" y="127"/>
                  </a:lnTo>
                  <a:lnTo>
                    <a:pt x="560" y="115"/>
                  </a:lnTo>
                  <a:lnTo>
                    <a:pt x="550" y="104"/>
                  </a:lnTo>
                  <a:lnTo>
                    <a:pt x="539" y="93"/>
                  </a:lnTo>
                  <a:lnTo>
                    <a:pt x="528" y="82"/>
                  </a:lnTo>
                  <a:lnTo>
                    <a:pt x="517" y="72"/>
                  </a:lnTo>
                  <a:lnTo>
                    <a:pt x="505" y="64"/>
                  </a:lnTo>
                  <a:lnTo>
                    <a:pt x="492" y="54"/>
                  </a:lnTo>
                  <a:lnTo>
                    <a:pt x="479" y="47"/>
                  </a:lnTo>
                  <a:lnTo>
                    <a:pt x="466" y="38"/>
                  </a:lnTo>
                  <a:lnTo>
                    <a:pt x="452" y="32"/>
                  </a:lnTo>
                  <a:lnTo>
                    <a:pt x="439" y="26"/>
                  </a:lnTo>
                  <a:lnTo>
                    <a:pt x="424" y="20"/>
                  </a:lnTo>
                  <a:lnTo>
                    <a:pt x="409" y="15"/>
                  </a:lnTo>
                  <a:lnTo>
                    <a:pt x="395" y="10"/>
                  </a:lnTo>
                  <a:lnTo>
                    <a:pt x="379" y="6"/>
                  </a:lnTo>
                  <a:lnTo>
                    <a:pt x="364" y="4"/>
                  </a:lnTo>
                  <a:lnTo>
                    <a:pt x="348" y="3"/>
                  </a:lnTo>
                  <a:lnTo>
                    <a:pt x="331" y="1"/>
                  </a:lnTo>
                  <a:lnTo>
                    <a:pt x="3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128"/>
            <p:cNvSpPr>
              <a:spLocks/>
            </p:cNvSpPr>
            <p:nvPr/>
          </p:nvSpPr>
          <p:spPr bwMode="auto">
            <a:xfrm>
              <a:off x="10569575" y="1036638"/>
              <a:ext cx="66675" cy="9525"/>
            </a:xfrm>
            <a:custGeom>
              <a:avLst/>
              <a:gdLst>
                <a:gd name="T0" fmla="*/ 196 w 210"/>
                <a:gd name="T1" fmla="*/ 0 h 29"/>
                <a:gd name="T2" fmla="*/ 15 w 210"/>
                <a:gd name="T3" fmla="*/ 0 h 29"/>
                <a:gd name="T4" fmla="*/ 9 w 210"/>
                <a:gd name="T5" fmla="*/ 1 h 29"/>
                <a:gd name="T6" fmla="*/ 5 w 210"/>
                <a:gd name="T7" fmla="*/ 3 h 29"/>
                <a:gd name="T8" fmla="*/ 2 w 210"/>
                <a:gd name="T9" fmla="*/ 8 h 29"/>
                <a:gd name="T10" fmla="*/ 0 w 210"/>
                <a:gd name="T11" fmla="*/ 14 h 29"/>
                <a:gd name="T12" fmla="*/ 2 w 210"/>
                <a:gd name="T13" fmla="*/ 20 h 29"/>
                <a:gd name="T14" fmla="*/ 5 w 210"/>
                <a:gd name="T15" fmla="*/ 25 h 29"/>
                <a:gd name="T16" fmla="*/ 9 w 210"/>
                <a:gd name="T17" fmla="*/ 28 h 29"/>
                <a:gd name="T18" fmla="*/ 15 w 210"/>
                <a:gd name="T19" fmla="*/ 29 h 29"/>
                <a:gd name="T20" fmla="*/ 196 w 210"/>
                <a:gd name="T21" fmla="*/ 29 h 29"/>
                <a:gd name="T22" fmla="*/ 202 w 210"/>
                <a:gd name="T23" fmla="*/ 28 h 29"/>
                <a:gd name="T24" fmla="*/ 207 w 210"/>
                <a:gd name="T25" fmla="*/ 25 h 29"/>
                <a:gd name="T26" fmla="*/ 209 w 210"/>
                <a:gd name="T27" fmla="*/ 20 h 29"/>
                <a:gd name="T28" fmla="*/ 210 w 210"/>
                <a:gd name="T29" fmla="*/ 14 h 29"/>
                <a:gd name="T30" fmla="*/ 209 w 210"/>
                <a:gd name="T31" fmla="*/ 8 h 29"/>
                <a:gd name="T32" fmla="*/ 207 w 210"/>
                <a:gd name="T33" fmla="*/ 3 h 29"/>
                <a:gd name="T34" fmla="*/ 202 w 210"/>
                <a:gd name="T35" fmla="*/ 1 h 29"/>
                <a:gd name="T36" fmla="*/ 196 w 210"/>
                <a:gd name="T3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0" h="29">
                  <a:moveTo>
                    <a:pt x="196" y="0"/>
                  </a:moveTo>
                  <a:lnTo>
                    <a:pt x="15" y="0"/>
                  </a:lnTo>
                  <a:lnTo>
                    <a:pt x="9" y="1"/>
                  </a:lnTo>
                  <a:lnTo>
                    <a:pt x="5" y="3"/>
                  </a:lnTo>
                  <a:lnTo>
                    <a:pt x="2" y="8"/>
                  </a:lnTo>
                  <a:lnTo>
                    <a:pt x="0" y="14"/>
                  </a:lnTo>
                  <a:lnTo>
                    <a:pt x="2" y="20"/>
                  </a:lnTo>
                  <a:lnTo>
                    <a:pt x="5" y="25"/>
                  </a:lnTo>
                  <a:lnTo>
                    <a:pt x="9" y="28"/>
                  </a:lnTo>
                  <a:lnTo>
                    <a:pt x="15" y="29"/>
                  </a:lnTo>
                  <a:lnTo>
                    <a:pt x="196" y="29"/>
                  </a:lnTo>
                  <a:lnTo>
                    <a:pt x="202" y="28"/>
                  </a:lnTo>
                  <a:lnTo>
                    <a:pt x="207" y="25"/>
                  </a:lnTo>
                  <a:lnTo>
                    <a:pt x="209" y="20"/>
                  </a:lnTo>
                  <a:lnTo>
                    <a:pt x="210" y="14"/>
                  </a:lnTo>
                  <a:lnTo>
                    <a:pt x="209" y="8"/>
                  </a:lnTo>
                  <a:lnTo>
                    <a:pt x="207" y="3"/>
                  </a:lnTo>
                  <a:lnTo>
                    <a:pt x="202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129"/>
            <p:cNvSpPr>
              <a:spLocks/>
            </p:cNvSpPr>
            <p:nvPr/>
          </p:nvSpPr>
          <p:spPr bwMode="auto">
            <a:xfrm>
              <a:off x="10569575" y="1055688"/>
              <a:ext cx="66675" cy="9525"/>
            </a:xfrm>
            <a:custGeom>
              <a:avLst/>
              <a:gdLst>
                <a:gd name="T0" fmla="*/ 196 w 210"/>
                <a:gd name="T1" fmla="*/ 0 h 31"/>
                <a:gd name="T2" fmla="*/ 15 w 210"/>
                <a:gd name="T3" fmla="*/ 0 h 31"/>
                <a:gd name="T4" fmla="*/ 9 w 210"/>
                <a:gd name="T5" fmla="*/ 2 h 31"/>
                <a:gd name="T6" fmla="*/ 5 w 210"/>
                <a:gd name="T7" fmla="*/ 5 h 31"/>
                <a:gd name="T8" fmla="*/ 2 w 210"/>
                <a:gd name="T9" fmla="*/ 10 h 31"/>
                <a:gd name="T10" fmla="*/ 0 w 210"/>
                <a:gd name="T11" fmla="*/ 15 h 31"/>
                <a:gd name="T12" fmla="*/ 2 w 210"/>
                <a:gd name="T13" fmla="*/ 21 h 31"/>
                <a:gd name="T14" fmla="*/ 5 w 210"/>
                <a:gd name="T15" fmla="*/ 26 h 31"/>
                <a:gd name="T16" fmla="*/ 9 w 210"/>
                <a:gd name="T17" fmla="*/ 30 h 31"/>
                <a:gd name="T18" fmla="*/ 15 w 210"/>
                <a:gd name="T19" fmla="*/ 31 h 31"/>
                <a:gd name="T20" fmla="*/ 196 w 210"/>
                <a:gd name="T21" fmla="*/ 31 h 31"/>
                <a:gd name="T22" fmla="*/ 202 w 210"/>
                <a:gd name="T23" fmla="*/ 30 h 31"/>
                <a:gd name="T24" fmla="*/ 207 w 210"/>
                <a:gd name="T25" fmla="*/ 26 h 31"/>
                <a:gd name="T26" fmla="*/ 209 w 210"/>
                <a:gd name="T27" fmla="*/ 21 h 31"/>
                <a:gd name="T28" fmla="*/ 210 w 210"/>
                <a:gd name="T29" fmla="*/ 15 h 31"/>
                <a:gd name="T30" fmla="*/ 209 w 210"/>
                <a:gd name="T31" fmla="*/ 10 h 31"/>
                <a:gd name="T32" fmla="*/ 207 w 210"/>
                <a:gd name="T33" fmla="*/ 5 h 31"/>
                <a:gd name="T34" fmla="*/ 202 w 210"/>
                <a:gd name="T35" fmla="*/ 2 h 31"/>
                <a:gd name="T36" fmla="*/ 196 w 21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0" h="31">
                  <a:moveTo>
                    <a:pt x="196" y="0"/>
                  </a:moveTo>
                  <a:lnTo>
                    <a:pt x="15" y="0"/>
                  </a:lnTo>
                  <a:lnTo>
                    <a:pt x="9" y="2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5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196" y="31"/>
                  </a:lnTo>
                  <a:lnTo>
                    <a:pt x="202" y="30"/>
                  </a:lnTo>
                  <a:lnTo>
                    <a:pt x="207" y="26"/>
                  </a:lnTo>
                  <a:lnTo>
                    <a:pt x="209" y="21"/>
                  </a:lnTo>
                  <a:lnTo>
                    <a:pt x="210" y="15"/>
                  </a:lnTo>
                  <a:lnTo>
                    <a:pt x="209" y="10"/>
                  </a:lnTo>
                  <a:lnTo>
                    <a:pt x="207" y="5"/>
                  </a:lnTo>
                  <a:lnTo>
                    <a:pt x="202" y="2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130"/>
            <p:cNvSpPr>
              <a:spLocks/>
            </p:cNvSpPr>
            <p:nvPr/>
          </p:nvSpPr>
          <p:spPr bwMode="auto">
            <a:xfrm>
              <a:off x="10569575" y="1074738"/>
              <a:ext cx="66675" cy="28575"/>
            </a:xfrm>
            <a:custGeom>
              <a:avLst/>
              <a:gdLst>
                <a:gd name="T0" fmla="*/ 196 w 210"/>
                <a:gd name="T1" fmla="*/ 0 h 91"/>
                <a:gd name="T2" fmla="*/ 15 w 210"/>
                <a:gd name="T3" fmla="*/ 0 h 91"/>
                <a:gd name="T4" fmla="*/ 9 w 210"/>
                <a:gd name="T5" fmla="*/ 1 h 91"/>
                <a:gd name="T6" fmla="*/ 5 w 210"/>
                <a:gd name="T7" fmla="*/ 5 h 91"/>
                <a:gd name="T8" fmla="*/ 2 w 210"/>
                <a:gd name="T9" fmla="*/ 10 h 91"/>
                <a:gd name="T10" fmla="*/ 0 w 210"/>
                <a:gd name="T11" fmla="*/ 16 h 91"/>
                <a:gd name="T12" fmla="*/ 2 w 210"/>
                <a:gd name="T13" fmla="*/ 21 h 91"/>
                <a:gd name="T14" fmla="*/ 5 w 210"/>
                <a:gd name="T15" fmla="*/ 26 h 91"/>
                <a:gd name="T16" fmla="*/ 9 w 210"/>
                <a:gd name="T17" fmla="*/ 30 h 91"/>
                <a:gd name="T18" fmla="*/ 15 w 210"/>
                <a:gd name="T19" fmla="*/ 31 h 91"/>
                <a:gd name="T20" fmla="*/ 91 w 210"/>
                <a:gd name="T21" fmla="*/ 31 h 91"/>
                <a:gd name="T22" fmla="*/ 91 w 210"/>
                <a:gd name="T23" fmla="*/ 76 h 91"/>
                <a:gd name="T24" fmla="*/ 92 w 210"/>
                <a:gd name="T25" fmla="*/ 82 h 91"/>
                <a:gd name="T26" fmla="*/ 94 w 210"/>
                <a:gd name="T27" fmla="*/ 87 h 91"/>
                <a:gd name="T28" fmla="*/ 99 w 210"/>
                <a:gd name="T29" fmla="*/ 89 h 91"/>
                <a:gd name="T30" fmla="*/ 105 w 210"/>
                <a:gd name="T31" fmla="*/ 91 h 91"/>
                <a:gd name="T32" fmla="*/ 111 w 210"/>
                <a:gd name="T33" fmla="*/ 89 h 91"/>
                <a:gd name="T34" fmla="*/ 116 w 210"/>
                <a:gd name="T35" fmla="*/ 87 h 91"/>
                <a:gd name="T36" fmla="*/ 120 w 210"/>
                <a:gd name="T37" fmla="*/ 82 h 91"/>
                <a:gd name="T38" fmla="*/ 120 w 210"/>
                <a:gd name="T39" fmla="*/ 76 h 91"/>
                <a:gd name="T40" fmla="*/ 120 w 210"/>
                <a:gd name="T41" fmla="*/ 31 h 91"/>
                <a:gd name="T42" fmla="*/ 196 w 210"/>
                <a:gd name="T43" fmla="*/ 31 h 91"/>
                <a:gd name="T44" fmla="*/ 202 w 210"/>
                <a:gd name="T45" fmla="*/ 30 h 91"/>
                <a:gd name="T46" fmla="*/ 207 w 210"/>
                <a:gd name="T47" fmla="*/ 26 h 91"/>
                <a:gd name="T48" fmla="*/ 209 w 210"/>
                <a:gd name="T49" fmla="*/ 21 h 91"/>
                <a:gd name="T50" fmla="*/ 210 w 210"/>
                <a:gd name="T51" fmla="*/ 16 h 91"/>
                <a:gd name="T52" fmla="*/ 209 w 210"/>
                <a:gd name="T53" fmla="*/ 10 h 91"/>
                <a:gd name="T54" fmla="*/ 207 w 210"/>
                <a:gd name="T55" fmla="*/ 5 h 91"/>
                <a:gd name="T56" fmla="*/ 202 w 210"/>
                <a:gd name="T57" fmla="*/ 1 h 91"/>
                <a:gd name="T58" fmla="*/ 196 w 210"/>
                <a:gd name="T5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10" h="91">
                  <a:moveTo>
                    <a:pt x="196" y="0"/>
                  </a:moveTo>
                  <a:lnTo>
                    <a:pt x="15" y="0"/>
                  </a:lnTo>
                  <a:lnTo>
                    <a:pt x="9" y="1"/>
                  </a:lnTo>
                  <a:lnTo>
                    <a:pt x="5" y="5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2" y="21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5" y="31"/>
                  </a:lnTo>
                  <a:lnTo>
                    <a:pt x="91" y="31"/>
                  </a:lnTo>
                  <a:lnTo>
                    <a:pt x="91" y="76"/>
                  </a:lnTo>
                  <a:lnTo>
                    <a:pt x="92" y="82"/>
                  </a:lnTo>
                  <a:lnTo>
                    <a:pt x="94" y="87"/>
                  </a:lnTo>
                  <a:lnTo>
                    <a:pt x="99" y="89"/>
                  </a:lnTo>
                  <a:lnTo>
                    <a:pt x="105" y="91"/>
                  </a:lnTo>
                  <a:lnTo>
                    <a:pt x="111" y="89"/>
                  </a:lnTo>
                  <a:lnTo>
                    <a:pt x="116" y="87"/>
                  </a:lnTo>
                  <a:lnTo>
                    <a:pt x="120" y="82"/>
                  </a:lnTo>
                  <a:lnTo>
                    <a:pt x="120" y="76"/>
                  </a:lnTo>
                  <a:lnTo>
                    <a:pt x="120" y="31"/>
                  </a:lnTo>
                  <a:lnTo>
                    <a:pt x="196" y="31"/>
                  </a:lnTo>
                  <a:lnTo>
                    <a:pt x="202" y="30"/>
                  </a:lnTo>
                  <a:lnTo>
                    <a:pt x="207" y="26"/>
                  </a:lnTo>
                  <a:lnTo>
                    <a:pt x="209" y="21"/>
                  </a:lnTo>
                  <a:lnTo>
                    <a:pt x="210" y="16"/>
                  </a:lnTo>
                  <a:lnTo>
                    <a:pt x="209" y="10"/>
                  </a:lnTo>
                  <a:lnTo>
                    <a:pt x="207" y="5"/>
                  </a:lnTo>
                  <a:lnTo>
                    <a:pt x="202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7" name="Text Placeholder 2"/>
          <p:cNvSpPr txBox="1">
            <a:spLocks/>
          </p:cNvSpPr>
          <p:nvPr/>
        </p:nvSpPr>
        <p:spPr>
          <a:xfrm>
            <a:off x="2025029" y="2145862"/>
            <a:ext cx="43877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ct val="100000"/>
              </a:lnSpc>
              <a:spcBef>
                <a:spcPts val="0"/>
              </a:spcBef>
            </a:pPr>
            <a:r>
              <a:rPr lang="en-US" sz="2800" dirty="0">
                <a:solidFill>
                  <a:srgbClr val="F6443B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01</a:t>
            </a:r>
          </a:p>
        </p:txBody>
      </p:sp>
      <p:sp>
        <p:nvSpPr>
          <p:cNvPr id="82" name="Rectangle 81"/>
          <p:cNvSpPr/>
          <p:nvPr/>
        </p:nvSpPr>
        <p:spPr>
          <a:xfrm rot="2700000">
            <a:off x="4141584" y="1827616"/>
            <a:ext cx="1130013" cy="1130013"/>
          </a:xfrm>
          <a:prstGeom prst="rect">
            <a:avLst/>
          </a:prstGeom>
          <a:gradFill flip="none" rotWithShape="1">
            <a:gsLst>
              <a:gs pos="0">
                <a:srgbClr val="4E2230"/>
              </a:gs>
              <a:gs pos="100000">
                <a:srgbClr val="F6443B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5" name="Rectangle 134"/>
          <p:cNvSpPr/>
          <p:nvPr/>
        </p:nvSpPr>
        <p:spPr>
          <a:xfrm rot="2700000">
            <a:off x="4310911" y="2004091"/>
            <a:ext cx="782028" cy="782028"/>
          </a:xfrm>
          <a:prstGeom prst="rect">
            <a:avLst/>
          </a:prstGeom>
          <a:gradFill flip="none" rotWithShape="1">
            <a:gsLst>
              <a:gs pos="0">
                <a:srgbClr val="4E2230"/>
              </a:gs>
              <a:gs pos="100000">
                <a:srgbClr val="F6443B"/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" name="Snip Diagonal Corner Rectangle 82"/>
          <p:cNvSpPr/>
          <p:nvPr/>
        </p:nvSpPr>
        <p:spPr>
          <a:xfrm flipH="1">
            <a:off x="3610359" y="2569363"/>
            <a:ext cx="2192462" cy="3756273"/>
          </a:xfrm>
          <a:prstGeom prst="snip2DiagRect">
            <a:avLst>
              <a:gd name="adj1" fmla="val 0"/>
              <a:gd name="adj2" fmla="val 21555"/>
            </a:avLst>
          </a:prstGeom>
          <a:gradFill flip="none" rotWithShape="1">
            <a:gsLst>
              <a:gs pos="100000">
                <a:srgbClr val="69AFC0"/>
              </a:gs>
              <a:gs pos="0">
                <a:srgbClr val="125680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Freeform 83"/>
          <p:cNvSpPr/>
          <p:nvPr/>
        </p:nvSpPr>
        <p:spPr>
          <a:xfrm rot="18900000" flipH="1">
            <a:off x="4141584" y="1827616"/>
            <a:ext cx="1130013" cy="1130013"/>
          </a:xfrm>
          <a:custGeom>
            <a:avLst/>
            <a:gdLst>
              <a:gd name="connsiteX0" fmla="*/ 0 w 1130013"/>
              <a:gd name="connsiteY0" fmla="*/ 0 h 1130013"/>
              <a:gd name="connsiteX1" fmla="*/ 6598 w 1130013"/>
              <a:gd name="connsiteY1" fmla="*/ 0 h 1130013"/>
              <a:gd name="connsiteX2" fmla="*/ 1130013 w 1130013"/>
              <a:gd name="connsiteY2" fmla="*/ 1123415 h 1130013"/>
              <a:gd name="connsiteX3" fmla="*/ 1130013 w 1130013"/>
              <a:gd name="connsiteY3" fmla="*/ 1130013 h 1130013"/>
              <a:gd name="connsiteX4" fmla="*/ 0 w 1130013"/>
              <a:gd name="connsiteY4" fmla="*/ 1130013 h 1130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0013" h="1130013">
                <a:moveTo>
                  <a:pt x="0" y="0"/>
                </a:moveTo>
                <a:lnTo>
                  <a:pt x="6598" y="0"/>
                </a:lnTo>
                <a:lnTo>
                  <a:pt x="1130013" y="1123415"/>
                </a:lnTo>
                <a:lnTo>
                  <a:pt x="1130013" y="1130013"/>
                </a:lnTo>
                <a:lnTo>
                  <a:pt x="0" y="1130013"/>
                </a:lnTo>
                <a:close/>
              </a:path>
            </a:pathLst>
          </a:custGeom>
          <a:gradFill flip="none" rotWithShape="1">
            <a:gsLst>
              <a:gs pos="100000">
                <a:srgbClr val="F6443B"/>
              </a:gs>
              <a:gs pos="0">
                <a:srgbClr val="F9857F"/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Text Placeholder 2"/>
          <p:cNvSpPr txBox="1">
            <a:spLocks/>
          </p:cNvSpPr>
          <p:nvPr/>
        </p:nvSpPr>
        <p:spPr>
          <a:xfrm>
            <a:off x="3907549" y="3554985"/>
            <a:ext cx="159808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</a:t>
            </a:r>
          </a:p>
        </p:txBody>
      </p:sp>
      <p:sp>
        <p:nvSpPr>
          <p:cNvPr id="86" name="Text Placeholder 2"/>
          <p:cNvSpPr txBox="1">
            <a:spLocks/>
          </p:cNvSpPr>
          <p:nvPr/>
        </p:nvSpPr>
        <p:spPr>
          <a:xfrm>
            <a:off x="3906541" y="3959770"/>
            <a:ext cx="1600098" cy="10674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 Lorem Ipsum has been the industry's</a:t>
            </a:r>
          </a:p>
        </p:txBody>
      </p:sp>
      <p:sp>
        <p:nvSpPr>
          <p:cNvPr id="88" name="Text Placeholder 2"/>
          <p:cNvSpPr txBox="1">
            <a:spLocks/>
          </p:cNvSpPr>
          <p:nvPr/>
        </p:nvSpPr>
        <p:spPr>
          <a:xfrm>
            <a:off x="4806214" y="2145862"/>
            <a:ext cx="43877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ct val="100000"/>
              </a:lnSpc>
              <a:spcBef>
                <a:spcPts val="0"/>
              </a:spcBef>
            </a:pPr>
            <a:r>
              <a:rPr lang="en-US" sz="28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02</a:t>
            </a:r>
          </a:p>
        </p:txBody>
      </p:sp>
      <p:grpSp>
        <p:nvGrpSpPr>
          <p:cNvPr id="59" name="Group 58"/>
          <p:cNvGrpSpPr/>
          <p:nvPr/>
        </p:nvGrpSpPr>
        <p:grpSpPr>
          <a:xfrm>
            <a:off x="4396681" y="5387846"/>
            <a:ext cx="619820" cy="571340"/>
            <a:chOff x="4313201" y="1920875"/>
            <a:chExt cx="284163" cy="261938"/>
          </a:xfrm>
          <a:solidFill>
            <a:srgbClr val="B0F7F4"/>
          </a:solidFill>
          <a:effectLst/>
        </p:grpSpPr>
        <p:sp>
          <p:nvSpPr>
            <p:cNvPr id="60" name="Freeform 3131"/>
            <p:cNvSpPr>
              <a:spLocks/>
            </p:cNvSpPr>
            <p:nvPr/>
          </p:nvSpPr>
          <p:spPr bwMode="auto">
            <a:xfrm>
              <a:off x="4313201" y="1920875"/>
              <a:ext cx="236538" cy="200025"/>
            </a:xfrm>
            <a:custGeom>
              <a:avLst/>
              <a:gdLst>
                <a:gd name="T0" fmla="*/ 599 w 599"/>
                <a:gd name="T1" fmla="*/ 12 h 503"/>
                <a:gd name="T2" fmla="*/ 599 w 599"/>
                <a:gd name="T3" fmla="*/ 7 h 503"/>
                <a:gd name="T4" fmla="*/ 595 w 599"/>
                <a:gd name="T5" fmla="*/ 3 h 503"/>
                <a:gd name="T6" fmla="*/ 592 w 599"/>
                <a:gd name="T7" fmla="*/ 1 h 503"/>
                <a:gd name="T8" fmla="*/ 587 w 599"/>
                <a:gd name="T9" fmla="*/ 0 h 503"/>
                <a:gd name="T10" fmla="*/ 12 w 599"/>
                <a:gd name="T11" fmla="*/ 0 h 503"/>
                <a:gd name="T12" fmla="*/ 8 w 599"/>
                <a:gd name="T13" fmla="*/ 1 h 503"/>
                <a:gd name="T14" fmla="*/ 4 w 599"/>
                <a:gd name="T15" fmla="*/ 3 h 503"/>
                <a:gd name="T16" fmla="*/ 2 w 599"/>
                <a:gd name="T17" fmla="*/ 7 h 503"/>
                <a:gd name="T18" fmla="*/ 0 w 599"/>
                <a:gd name="T19" fmla="*/ 12 h 503"/>
                <a:gd name="T20" fmla="*/ 0 w 599"/>
                <a:gd name="T21" fmla="*/ 371 h 503"/>
                <a:gd name="T22" fmla="*/ 2 w 599"/>
                <a:gd name="T23" fmla="*/ 376 h 503"/>
                <a:gd name="T24" fmla="*/ 4 w 599"/>
                <a:gd name="T25" fmla="*/ 379 h 503"/>
                <a:gd name="T26" fmla="*/ 8 w 599"/>
                <a:gd name="T27" fmla="*/ 382 h 503"/>
                <a:gd name="T28" fmla="*/ 12 w 599"/>
                <a:gd name="T29" fmla="*/ 383 h 503"/>
                <a:gd name="T30" fmla="*/ 96 w 599"/>
                <a:gd name="T31" fmla="*/ 383 h 503"/>
                <a:gd name="T32" fmla="*/ 96 w 599"/>
                <a:gd name="T33" fmla="*/ 490 h 503"/>
                <a:gd name="T34" fmla="*/ 97 w 599"/>
                <a:gd name="T35" fmla="*/ 493 h 503"/>
                <a:gd name="T36" fmla="*/ 98 w 599"/>
                <a:gd name="T37" fmla="*/ 497 h 503"/>
                <a:gd name="T38" fmla="*/ 100 w 599"/>
                <a:gd name="T39" fmla="*/ 499 h 503"/>
                <a:gd name="T40" fmla="*/ 104 w 599"/>
                <a:gd name="T41" fmla="*/ 502 h 503"/>
                <a:gd name="T42" fmla="*/ 106 w 599"/>
                <a:gd name="T43" fmla="*/ 502 h 503"/>
                <a:gd name="T44" fmla="*/ 109 w 599"/>
                <a:gd name="T45" fmla="*/ 503 h 503"/>
                <a:gd name="T46" fmla="*/ 112 w 599"/>
                <a:gd name="T47" fmla="*/ 502 h 503"/>
                <a:gd name="T48" fmla="*/ 117 w 599"/>
                <a:gd name="T49" fmla="*/ 499 h 503"/>
                <a:gd name="T50" fmla="*/ 232 w 599"/>
                <a:gd name="T51" fmla="*/ 383 h 503"/>
                <a:gd name="T52" fmla="*/ 288 w 599"/>
                <a:gd name="T53" fmla="*/ 383 h 503"/>
                <a:gd name="T54" fmla="*/ 288 w 599"/>
                <a:gd name="T55" fmla="*/ 251 h 503"/>
                <a:gd name="T56" fmla="*/ 288 w 599"/>
                <a:gd name="T57" fmla="*/ 246 h 503"/>
                <a:gd name="T58" fmla="*/ 291 w 599"/>
                <a:gd name="T59" fmla="*/ 242 h 503"/>
                <a:gd name="T60" fmla="*/ 295 w 599"/>
                <a:gd name="T61" fmla="*/ 240 h 503"/>
                <a:gd name="T62" fmla="*/ 300 w 599"/>
                <a:gd name="T63" fmla="*/ 239 h 503"/>
                <a:gd name="T64" fmla="*/ 599 w 599"/>
                <a:gd name="T65" fmla="*/ 239 h 503"/>
                <a:gd name="T66" fmla="*/ 599 w 599"/>
                <a:gd name="T67" fmla="*/ 1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9" h="503">
                  <a:moveTo>
                    <a:pt x="599" y="12"/>
                  </a:moveTo>
                  <a:lnTo>
                    <a:pt x="599" y="7"/>
                  </a:lnTo>
                  <a:lnTo>
                    <a:pt x="595" y="3"/>
                  </a:lnTo>
                  <a:lnTo>
                    <a:pt x="592" y="1"/>
                  </a:lnTo>
                  <a:lnTo>
                    <a:pt x="587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2" y="7"/>
                  </a:lnTo>
                  <a:lnTo>
                    <a:pt x="0" y="12"/>
                  </a:lnTo>
                  <a:lnTo>
                    <a:pt x="0" y="371"/>
                  </a:lnTo>
                  <a:lnTo>
                    <a:pt x="2" y="376"/>
                  </a:lnTo>
                  <a:lnTo>
                    <a:pt x="4" y="379"/>
                  </a:lnTo>
                  <a:lnTo>
                    <a:pt x="8" y="382"/>
                  </a:lnTo>
                  <a:lnTo>
                    <a:pt x="12" y="383"/>
                  </a:lnTo>
                  <a:lnTo>
                    <a:pt x="96" y="383"/>
                  </a:lnTo>
                  <a:lnTo>
                    <a:pt x="96" y="490"/>
                  </a:lnTo>
                  <a:lnTo>
                    <a:pt x="97" y="493"/>
                  </a:lnTo>
                  <a:lnTo>
                    <a:pt x="98" y="497"/>
                  </a:lnTo>
                  <a:lnTo>
                    <a:pt x="100" y="499"/>
                  </a:lnTo>
                  <a:lnTo>
                    <a:pt x="104" y="502"/>
                  </a:lnTo>
                  <a:lnTo>
                    <a:pt x="106" y="502"/>
                  </a:lnTo>
                  <a:lnTo>
                    <a:pt x="109" y="503"/>
                  </a:lnTo>
                  <a:lnTo>
                    <a:pt x="112" y="502"/>
                  </a:lnTo>
                  <a:lnTo>
                    <a:pt x="117" y="499"/>
                  </a:lnTo>
                  <a:lnTo>
                    <a:pt x="232" y="383"/>
                  </a:lnTo>
                  <a:lnTo>
                    <a:pt x="288" y="383"/>
                  </a:lnTo>
                  <a:lnTo>
                    <a:pt x="288" y="251"/>
                  </a:lnTo>
                  <a:lnTo>
                    <a:pt x="288" y="246"/>
                  </a:lnTo>
                  <a:lnTo>
                    <a:pt x="291" y="242"/>
                  </a:lnTo>
                  <a:lnTo>
                    <a:pt x="295" y="240"/>
                  </a:lnTo>
                  <a:lnTo>
                    <a:pt x="300" y="239"/>
                  </a:lnTo>
                  <a:lnTo>
                    <a:pt x="599" y="239"/>
                  </a:lnTo>
                  <a:lnTo>
                    <a:pt x="599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132"/>
            <p:cNvSpPr>
              <a:spLocks/>
            </p:cNvSpPr>
            <p:nvPr/>
          </p:nvSpPr>
          <p:spPr bwMode="auto">
            <a:xfrm>
              <a:off x="4437026" y="2025650"/>
              <a:ext cx="160338" cy="157163"/>
            </a:xfrm>
            <a:custGeom>
              <a:avLst/>
              <a:gdLst>
                <a:gd name="T0" fmla="*/ 395 w 407"/>
                <a:gd name="T1" fmla="*/ 0 h 394"/>
                <a:gd name="T2" fmla="*/ 12 w 407"/>
                <a:gd name="T3" fmla="*/ 0 h 394"/>
                <a:gd name="T4" fmla="*/ 0 w 407"/>
                <a:gd name="T5" fmla="*/ 0 h 394"/>
                <a:gd name="T6" fmla="*/ 0 w 407"/>
                <a:gd name="T7" fmla="*/ 11 h 394"/>
                <a:gd name="T8" fmla="*/ 0 w 407"/>
                <a:gd name="T9" fmla="*/ 252 h 394"/>
                <a:gd name="T10" fmla="*/ 0 w 407"/>
                <a:gd name="T11" fmla="*/ 255 h 394"/>
                <a:gd name="T12" fmla="*/ 4 w 407"/>
                <a:gd name="T13" fmla="*/ 260 h 394"/>
                <a:gd name="T14" fmla="*/ 7 w 407"/>
                <a:gd name="T15" fmla="*/ 262 h 394"/>
                <a:gd name="T16" fmla="*/ 12 w 407"/>
                <a:gd name="T17" fmla="*/ 264 h 394"/>
                <a:gd name="T18" fmla="*/ 193 w 407"/>
                <a:gd name="T19" fmla="*/ 264 h 394"/>
                <a:gd name="T20" fmla="*/ 198 w 407"/>
                <a:gd name="T21" fmla="*/ 264 h 394"/>
                <a:gd name="T22" fmla="*/ 314 w 407"/>
                <a:gd name="T23" fmla="*/ 391 h 394"/>
                <a:gd name="T24" fmla="*/ 319 w 407"/>
                <a:gd name="T25" fmla="*/ 394 h 394"/>
                <a:gd name="T26" fmla="*/ 324 w 407"/>
                <a:gd name="T27" fmla="*/ 394 h 394"/>
                <a:gd name="T28" fmla="*/ 325 w 407"/>
                <a:gd name="T29" fmla="*/ 394 h 394"/>
                <a:gd name="T30" fmla="*/ 327 w 407"/>
                <a:gd name="T31" fmla="*/ 394 h 394"/>
                <a:gd name="T32" fmla="*/ 331 w 407"/>
                <a:gd name="T33" fmla="*/ 392 h 394"/>
                <a:gd name="T34" fmla="*/ 333 w 407"/>
                <a:gd name="T35" fmla="*/ 390 h 394"/>
                <a:gd name="T36" fmla="*/ 334 w 407"/>
                <a:gd name="T37" fmla="*/ 386 h 394"/>
                <a:gd name="T38" fmla="*/ 336 w 407"/>
                <a:gd name="T39" fmla="*/ 383 h 394"/>
                <a:gd name="T40" fmla="*/ 336 w 407"/>
                <a:gd name="T41" fmla="*/ 276 h 394"/>
                <a:gd name="T42" fmla="*/ 336 w 407"/>
                <a:gd name="T43" fmla="*/ 264 h 394"/>
                <a:gd name="T44" fmla="*/ 347 w 407"/>
                <a:gd name="T45" fmla="*/ 264 h 394"/>
                <a:gd name="T46" fmla="*/ 395 w 407"/>
                <a:gd name="T47" fmla="*/ 264 h 394"/>
                <a:gd name="T48" fmla="*/ 400 w 407"/>
                <a:gd name="T49" fmla="*/ 262 h 394"/>
                <a:gd name="T50" fmla="*/ 403 w 407"/>
                <a:gd name="T51" fmla="*/ 260 h 394"/>
                <a:gd name="T52" fmla="*/ 406 w 407"/>
                <a:gd name="T53" fmla="*/ 257 h 394"/>
                <a:gd name="T54" fmla="*/ 407 w 407"/>
                <a:gd name="T55" fmla="*/ 252 h 394"/>
                <a:gd name="T56" fmla="*/ 407 w 407"/>
                <a:gd name="T57" fmla="*/ 11 h 394"/>
                <a:gd name="T58" fmla="*/ 406 w 407"/>
                <a:gd name="T59" fmla="*/ 7 h 394"/>
                <a:gd name="T60" fmla="*/ 403 w 407"/>
                <a:gd name="T61" fmla="*/ 3 h 394"/>
                <a:gd name="T62" fmla="*/ 400 w 407"/>
                <a:gd name="T63" fmla="*/ 1 h 394"/>
                <a:gd name="T64" fmla="*/ 395 w 407"/>
                <a:gd name="T65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7" h="394">
                  <a:moveTo>
                    <a:pt x="395" y="0"/>
                  </a:moveTo>
                  <a:lnTo>
                    <a:pt x="12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0" y="252"/>
                  </a:lnTo>
                  <a:lnTo>
                    <a:pt x="0" y="255"/>
                  </a:lnTo>
                  <a:lnTo>
                    <a:pt x="4" y="260"/>
                  </a:lnTo>
                  <a:lnTo>
                    <a:pt x="7" y="262"/>
                  </a:lnTo>
                  <a:lnTo>
                    <a:pt x="12" y="264"/>
                  </a:lnTo>
                  <a:lnTo>
                    <a:pt x="193" y="264"/>
                  </a:lnTo>
                  <a:lnTo>
                    <a:pt x="198" y="264"/>
                  </a:lnTo>
                  <a:lnTo>
                    <a:pt x="314" y="391"/>
                  </a:lnTo>
                  <a:lnTo>
                    <a:pt x="319" y="394"/>
                  </a:lnTo>
                  <a:lnTo>
                    <a:pt x="324" y="394"/>
                  </a:lnTo>
                  <a:lnTo>
                    <a:pt x="325" y="394"/>
                  </a:lnTo>
                  <a:lnTo>
                    <a:pt x="327" y="394"/>
                  </a:lnTo>
                  <a:lnTo>
                    <a:pt x="331" y="392"/>
                  </a:lnTo>
                  <a:lnTo>
                    <a:pt x="333" y="390"/>
                  </a:lnTo>
                  <a:lnTo>
                    <a:pt x="334" y="386"/>
                  </a:lnTo>
                  <a:lnTo>
                    <a:pt x="336" y="383"/>
                  </a:lnTo>
                  <a:lnTo>
                    <a:pt x="336" y="276"/>
                  </a:lnTo>
                  <a:lnTo>
                    <a:pt x="336" y="264"/>
                  </a:lnTo>
                  <a:lnTo>
                    <a:pt x="347" y="264"/>
                  </a:lnTo>
                  <a:lnTo>
                    <a:pt x="395" y="264"/>
                  </a:lnTo>
                  <a:lnTo>
                    <a:pt x="400" y="262"/>
                  </a:lnTo>
                  <a:lnTo>
                    <a:pt x="403" y="260"/>
                  </a:lnTo>
                  <a:lnTo>
                    <a:pt x="406" y="257"/>
                  </a:lnTo>
                  <a:lnTo>
                    <a:pt x="407" y="252"/>
                  </a:lnTo>
                  <a:lnTo>
                    <a:pt x="407" y="11"/>
                  </a:lnTo>
                  <a:lnTo>
                    <a:pt x="406" y="7"/>
                  </a:lnTo>
                  <a:lnTo>
                    <a:pt x="403" y="3"/>
                  </a:lnTo>
                  <a:lnTo>
                    <a:pt x="400" y="1"/>
                  </a:lnTo>
                  <a:lnTo>
                    <a:pt x="39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4" name="Rectangle 93"/>
          <p:cNvSpPr/>
          <p:nvPr/>
        </p:nvSpPr>
        <p:spPr>
          <a:xfrm rot="2700000">
            <a:off x="6922769" y="1827616"/>
            <a:ext cx="1130013" cy="1130013"/>
          </a:xfrm>
          <a:prstGeom prst="rect">
            <a:avLst/>
          </a:prstGeom>
          <a:gradFill flip="none" rotWithShape="1">
            <a:gsLst>
              <a:gs pos="100000">
                <a:srgbClr val="4186A2"/>
              </a:gs>
              <a:gs pos="0">
                <a:srgbClr val="B0F7F4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133" name="Rectangle 132"/>
          <p:cNvSpPr/>
          <p:nvPr/>
        </p:nvSpPr>
        <p:spPr>
          <a:xfrm rot="2700000">
            <a:off x="7101466" y="2006313"/>
            <a:ext cx="772618" cy="772618"/>
          </a:xfrm>
          <a:prstGeom prst="rect">
            <a:avLst/>
          </a:prstGeom>
          <a:gradFill flip="none" rotWithShape="1">
            <a:gsLst>
              <a:gs pos="100000">
                <a:srgbClr val="4186A2"/>
              </a:gs>
              <a:gs pos="0">
                <a:srgbClr val="B0F7F4"/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95" name="Snip Diagonal Corner Rectangle 94"/>
          <p:cNvSpPr/>
          <p:nvPr/>
        </p:nvSpPr>
        <p:spPr>
          <a:xfrm flipH="1">
            <a:off x="6391544" y="2569363"/>
            <a:ext cx="2192462" cy="3756273"/>
          </a:xfrm>
          <a:prstGeom prst="snip2DiagRect">
            <a:avLst>
              <a:gd name="adj1" fmla="val 0"/>
              <a:gd name="adj2" fmla="val 21555"/>
            </a:avLst>
          </a:prstGeom>
          <a:gradFill flip="none" rotWithShape="1">
            <a:gsLst>
              <a:gs pos="100000">
                <a:srgbClr val="69AFC0"/>
              </a:gs>
              <a:gs pos="0">
                <a:srgbClr val="125680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96" name="Freeform 95"/>
          <p:cNvSpPr/>
          <p:nvPr/>
        </p:nvSpPr>
        <p:spPr>
          <a:xfrm rot="18900000" flipH="1">
            <a:off x="6922769" y="1827616"/>
            <a:ext cx="1130013" cy="1130013"/>
          </a:xfrm>
          <a:custGeom>
            <a:avLst/>
            <a:gdLst>
              <a:gd name="connsiteX0" fmla="*/ 0 w 1130013"/>
              <a:gd name="connsiteY0" fmla="*/ 0 h 1130013"/>
              <a:gd name="connsiteX1" fmla="*/ 6598 w 1130013"/>
              <a:gd name="connsiteY1" fmla="*/ 0 h 1130013"/>
              <a:gd name="connsiteX2" fmla="*/ 1130013 w 1130013"/>
              <a:gd name="connsiteY2" fmla="*/ 1123415 h 1130013"/>
              <a:gd name="connsiteX3" fmla="*/ 1130013 w 1130013"/>
              <a:gd name="connsiteY3" fmla="*/ 1130013 h 1130013"/>
              <a:gd name="connsiteX4" fmla="*/ 0 w 1130013"/>
              <a:gd name="connsiteY4" fmla="*/ 1130013 h 1130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0013" h="1130013">
                <a:moveTo>
                  <a:pt x="0" y="0"/>
                </a:moveTo>
                <a:lnTo>
                  <a:pt x="6598" y="0"/>
                </a:lnTo>
                <a:lnTo>
                  <a:pt x="1130013" y="1123415"/>
                </a:lnTo>
                <a:lnTo>
                  <a:pt x="1130013" y="1130013"/>
                </a:lnTo>
                <a:lnTo>
                  <a:pt x="0" y="1130013"/>
                </a:lnTo>
                <a:close/>
              </a:path>
            </a:pathLst>
          </a:custGeom>
          <a:gradFill>
            <a:gsLst>
              <a:gs pos="100000">
                <a:srgbClr val="B0F7F4"/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97" name="Text Placeholder 2"/>
          <p:cNvSpPr txBox="1">
            <a:spLocks/>
          </p:cNvSpPr>
          <p:nvPr/>
        </p:nvSpPr>
        <p:spPr>
          <a:xfrm>
            <a:off x="6688734" y="3554985"/>
            <a:ext cx="159808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</a:t>
            </a:r>
          </a:p>
        </p:txBody>
      </p:sp>
      <p:sp>
        <p:nvSpPr>
          <p:cNvPr id="98" name="Text Placeholder 2"/>
          <p:cNvSpPr txBox="1">
            <a:spLocks/>
          </p:cNvSpPr>
          <p:nvPr/>
        </p:nvSpPr>
        <p:spPr>
          <a:xfrm>
            <a:off x="6687726" y="3959770"/>
            <a:ext cx="1600098" cy="10674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 Lorem Ipsum has been the industry's</a:t>
            </a:r>
          </a:p>
        </p:txBody>
      </p:sp>
      <p:sp>
        <p:nvSpPr>
          <p:cNvPr id="100" name="Text Placeholder 2"/>
          <p:cNvSpPr txBox="1">
            <a:spLocks/>
          </p:cNvSpPr>
          <p:nvPr/>
        </p:nvSpPr>
        <p:spPr>
          <a:xfrm>
            <a:off x="7587399" y="2145862"/>
            <a:ext cx="43877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ct val="100000"/>
              </a:lnSpc>
              <a:spcBef>
                <a:spcPts val="0"/>
              </a:spcBef>
            </a:pPr>
            <a:r>
              <a:rPr lang="en-US" sz="2800" dirty="0">
                <a:solidFill>
                  <a:srgbClr val="F6443B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03</a:t>
            </a:r>
          </a:p>
        </p:txBody>
      </p:sp>
      <p:grpSp>
        <p:nvGrpSpPr>
          <p:cNvPr id="56" name="Group 55"/>
          <p:cNvGrpSpPr/>
          <p:nvPr/>
        </p:nvGrpSpPr>
        <p:grpSpPr>
          <a:xfrm>
            <a:off x="7120952" y="5424126"/>
            <a:ext cx="632262" cy="498782"/>
            <a:chOff x="9883775" y="5410200"/>
            <a:chExt cx="285750" cy="225425"/>
          </a:xfrm>
          <a:solidFill>
            <a:srgbClr val="B0F7F4"/>
          </a:solidFill>
          <a:effectLst/>
        </p:grpSpPr>
        <p:sp>
          <p:nvSpPr>
            <p:cNvPr id="57" name="Freeform 3677"/>
            <p:cNvSpPr>
              <a:spLocks/>
            </p:cNvSpPr>
            <p:nvPr/>
          </p:nvSpPr>
          <p:spPr bwMode="auto">
            <a:xfrm>
              <a:off x="10052050" y="5445125"/>
              <a:ext cx="117475" cy="190500"/>
            </a:xfrm>
            <a:custGeom>
              <a:avLst/>
              <a:gdLst>
                <a:gd name="T0" fmla="*/ 201 w 296"/>
                <a:gd name="T1" fmla="*/ 285 h 482"/>
                <a:gd name="T2" fmla="*/ 168 w 296"/>
                <a:gd name="T3" fmla="*/ 275 h 482"/>
                <a:gd name="T4" fmla="*/ 153 w 296"/>
                <a:gd name="T5" fmla="*/ 238 h 482"/>
                <a:gd name="T6" fmla="*/ 163 w 296"/>
                <a:gd name="T7" fmla="*/ 230 h 482"/>
                <a:gd name="T8" fmla="*/ 176 w 296"/>
                <a:gd name="T9" fmla="*/ 219 h 482"/>
                <a:gd name="T10" fmla="*/ 185 w 296"/>
                <a:gd name="T11" fmla="*/ 201 h 482"/>
                <a:gd name="T12" fmla="*/ 190 w 296"/>
                <a:gd name="T13" fmla="*/ 175 h 482"/>
                <a:gd name="T14" fmla="*/ 198 w 296"/>
                <a:gd name="T15" fmla="*/ 167 h 482"/>
                <a:gd name="T16" fmla="*/ 201 w 296"/>
                <a:gd name="T17" fmla="*/ 158 h 482"/>
                <a:gd name="T18" fmla="*/ 205 w 296"/>
                <a:gd name="T19" fmla="*/ 133 h 482"/>
                <a:gd name="T20" fmla="*/ 205 w 296"/>
                <a:gd name="T21" fmla="*/ 122 h 482"/>
                <a:gd name="T22" fmla="*/ 201 w 296"/>
                <a:gd name="T23" fmla="*/ 110 h 482"/>
                <a:gd name="T24" fmla="*/ 195 w 296"/>
                <a:gd name="T25" fmla="*/ 101 h 482"/>
                <a:gd name="T26" fmla="*/ 205 w 296"/>
                <a:gd name="T27" fmla="*/ 76 h 482"/>
                <a:gd name="T28" fmla="*/ 208 w 296"/>
                <a:gd name="T29" fmla="*/ 59 h 482"/>
                <a:gd name="T30" fmla="*/ 205 w 296"/>
                <a:gd name="T31" fmla="*/ 43 h 482"/>
                <a:gd name="T32" fmla="*/ 200 w 296"/>
                <a:gd name="T33" fmla="*/ 31 h 482"/>
                <a:gd name="T34" fmla="*/ 192 w 296"/>
                <a:gd name="T35" fmla="*/ 22 h 482"/>
                <a:gd name="T36" fmla="*/ 171 w 296"/>
                <a:gd name="T37" fmla="*/ 9 h 482"/>
                <a:gd name="T38" fmla="*/ 145 w 296"/>
                <a:gd name="T39" fmla="*/ 2 h 482"/>
                <a:gd name="T40" fmla="*/ 118 w 296"/>
                <a:gd name="T41" fmla="*/ 0 h 482"/>
                <a:gd name="T42" fmla="*/ 95 w 296"/>
                <a:gd name="T43" fmla="*/ 2 h 482"/>
                <a:gd name="T44" fmla="*/ 70 w 296"/>
                <a:gd name="T45" fmla="*/ 7 h 482"/>
                <a:gd name="T46" fmla="*/ 50 w 296"/>
                <a:gd name="T47" fmla="*/ 17 h 482"/>
                <a:gd name="T48" fmla="*/ 36 w 296"/>
                <a:gd name="T49" fmla="*/ 32 h 482"/>
                <a:gd name="T50" fmla="*/ 16 w 296"/>
                <a:gd name="T51" fmla="*/ 36 h 482"/>
                <a:gd name="T52" fmla="*/ 7 w 296"/>
                <a:gd name="T53" fmla="*/ 44 h 482"/>
                <a:gd name="T54" fmla="*/ 4 w 296"/>
                <a:gd name="T55" fmla="*/ 57 h 482"/>
                <a:gd name="T56" fmla="*/ 4 w 296"/>
                <a:gd name="T57" fmla="*/ 71 h 482"/>
                <a:gd name="T58" fmla="*/ 13 w 296"/>
                <a:gd name="T59" fmla="*/ 99 h 482"/>
                <a:gd name="T60" fmla="*/ 5 w 296"/>
                <a:gd name="T61" fmla="*/ 110 h 482"/>
                <a:gd name="T62" fmla="*/ 0 w 296"/>
                <a:gd name="T63" fmla="*/ 121 h 482"/>
                <a:gd name="T64" fmla="*/ 0 w 296"/>
                <a:gd name="T65" fmla="*/ 133 h 482"/>
                <a:gd name="T66" fmla="*/ 4 w 296"/>
                <a:gd name="T67" fmla="*/ 158 h 482"/>
                <a:gd name="T68" fmla="*/ 9 w 296"/>
                <a:gd name="T69" fmla="*/ 167 h 482"/>
                <a:gd name="T70" fmla="*/ 15 w 296"/>
                <a:gd name="T71" fmla="*/ 175 h 482"/>
                <a:gd name="T72" fmla="*/ 20 w 296"/>
                <a:gd name="T73" fmla="*/ 199 h 482"/>
                <a:gd name="T74" fmla="*/ 31 w 296"/>
                <a:gd name="T75" fmla="*/ 217 h 482"/>
                <a:gd name="T76" fmla="*/ 43 w 296"/>
                <a:gd name="T77" fmla="*/ 230 h 482"/>
                <a:gd name="T78" fmla="*/ 56 w 296"/>
                <a:gd name="T79" fmla="*/ 238 h 482"/>
                <a:gd name="T80" fmla="*/ 43 w 296"/>
                <a:gd name="T81" fmla="*/ 274 h 482"/>
                <a:gd name="T82" fmla="*/ 42 w 296"/>
                <a:gd name="T83" fmla="*/ 287 h 482"/>
                <a:gd name="T84" fmla="*/ 61 w 296"/>
                <a:gd name="T85" fmla="*/ 302 h 482"/>
                <a:gd name="T86" fmla="*/ 73 w 296"/>
                <a:gd name="T87" fmla="*/ 318 h 482"/>
                <a:gd name="T88" fmla="*/ 79 w 296"/>
                <a:gd name="T89" fmla="*/ 332 h 482"/>
                <a:gd name="T90" fmla="*/ 81 w 296"/>
                <a:gd name="T91" fmla="*/ 482 h 482"/>
                <a:gd name="T92" fmla="*/ 289 w 296"/>
                <a:gd name="T93" fmla="*/ 481 h 482"/>
                <a:gd name="T94" fmla="*/ 295 w 296"/>
                <a:gd name="T95" fmla="*/ 474 h 482"/>
                <a:gd name="T96" fmla="*/ 296 w 296"/>
                <a:gd name="T97" fmla="*/ 334 h 482"/>
                <a:gd name="T98" fmla="*/ 293 w 296"/>
                <a:gd name="T99" fmla="*/ 323 h 482"/>
                <a:gd name="T100" fmla="*/ 278 w 296"/>
                <a:gd name="T101" fmla="*/ 312 h 482"/>
                <a:gd name="T102" fmla="*/ 217 w 296"/>
                <a:gd name="T103" fmla="*/ 291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96" h="482">
                  <a:moveTo>
                    <a:pt x="217" y="291"/>
                  </a:moveTo>
                  <a:lnTo>
                    <a:pt x="201" y="285"/>
                  </a:lnTo>
                  <a:lnTo>
                    <a:pt x="185" y="280"/>
                  </a:lnTo>
                  <a:lnTo>
                    <a:pt x="168" y="275"/>
                  </a:lnTo>
                  <a:lnTo>
                    <a:pt x="153" y="270"/>
                  </a:lnTo>
                  <a:lnTo>
                    <a:pt x="153" y="238"/>
                  </a:lnTo>
                  <a:lnTo>
                    <a:pt x="158" y="235"/>
                  </a:lnTo>
                  <a:lnTo>
                    <a:pt x="163" y="230"/>
                  </a:lnTo>
                  <a:lnTo>
                    <a:pt x="169" y="225"/>
                  </a:lnTo>
                  <a:lnTo>
                    <a:pt x="176" y="219"/>
                  </a:lnTo>
                  <a:lnTo>
                    <a:pt x="181" y="210"/>
                  </a:lnTo>
                  <a:lnTo>
                    <a:pt x="185" y="201"/>
                  </a:lnTo>
                  <a:lnTo>
                    <a:pt x="189" y="189"/>
                  </a:lnTo>
                  <a:lnTo>
                    <a:pt x="190" y="175"/>
                  </a:lnTo>
                  <a:lnTo>
                    <a:pt x="194" y="172"/>
                  </a:lnTo>
                  <a:lnTo>
                    <a:pt x="198" y="167"/>
                  </a:lnTo>
                  <a:lnTo>
                    <a:pt x="200" y="163"/>
                  </a:lnTo>
                  <a:lnTo>
                    <a:pt x="201" y="158"/>
                  </a:lnTo>
                  <a:lnTo>
                    <a:pt x="205" y="145"/>
                  </a:lnTo>
                  <a:lnTo>
                    <a:pt x="205" y="133"/>
                  </a:lnTo>
                  <a:lnTo>
                    <a:pt x="205" y="127"/>
                  </a:lnTo>
                  <a:lnTo>
                    <a:pt x="205" y="122"/>
                  </a:lnTo>
                  <a:lnTo>
                    <a:pt x="204" y="116"/>
                  </a:lnTo>
                  <a:lnTo>
                    <a:pt x="201" y="110"/>
                  </a:lnTo>
                  <a:lnTo>
                    <a:pt x="198" y="104"/>
                  </a:lnTo>
                  <a:lnTo>
                    <a:pt x="195" y="101"/>
                  </a:lnTo>
                  <a:lnTo>
                    <a:pt x="200" y="90"/>
                  </a:lnTo>
                  <a:lnTo>
                    <a:pt x="205" y="76"/>
                  </a:lnTo>
                  <a:lnTo>
                    <a:pt x="208" y="67"/>
                  </a:lnTo>
                  <a:lnTo>
                    <a:pt x="208" y="59"/>
                  </a:lnTo>
                  <a:lnTo>
                    <a:pt x="208" y="50"/>
                  </a:lnTo>
                  <a:lnTo>
                    <a:pt x="205" y="43"/>
                  </a:lnTo>
                  <a:lnTo>
                    <a:pt x="203" y="36"/>
                  </a:lnTo>
                  <a:lnTo>
                    <a:pt x="200" y="31"/>
                  </a:lnTo>
                  <a:lnTo>
                    <a:pt x="196" y="26"/>
                  </a:lnTo>
                  <a:lnTo>
                    <a:pt x="192" y="22"/>
                  </a:lnTo>
                  <a:lnTo>
                    <a:pt x="182" y="14"/>
                  </a:lnTo>
                  <a:lnTo>
                    <a:pt x="171" y="9"/>
                  </a:lnTo>
                  <a:lnTo>
                    <a:pt x="158" y="5"/>
                  </a:lnTo>
                  <a:lnTo>
                    <a:pt x="145" y="2"/>
                  </a:lnTo>
                  <a:lnTo>
                    <a:pt x="131" y="0"/>
                  </a:lnTo>
                  <a:lnTo>
                    <a:pt x="118" y="0"/>
                  </a:lnTo>
                  <a:lnTo>
                    <a:pt x="106" y="0"/>
                  </a:lnTo>
                  <a:lnTo>
                    <a:pt x="95" y="2"/>
                  </a:lnTo>
                  <a:lnTo>
                    <a:pt x="82" y="4"/>
                  </a:lnTo>
                  <a:lnTo>
                    <a:pt x="70" y="7"/>
                  </a:lnTo>
                  <a:lnTo>
                    <a:pt x="60" y="12"/>
                  </a:lnTo>
                  <a:lnTo>
                    <a:pt x="50" y="17"/>
                  </a:lnTo>
                  <a:lnTo>
                    <a:pt x="42" y="25"/>
                  </a:lnTo>
                  <a:lnTo>
                    <a:pt x="36" y="32"/>
                  </a:lnTo>
                  <a:lnTo>
                    <a:pt x="24" y="34"/>
                  </a:lnTo>
                  <a:lnTo>
                    <a:pt x="16" y="36"/>
                  </a:lnTo>
                  <a:lnTo>
                    <a:pt x="11" y="40"/>
                  </a:lnTo>
                  <a:lnTo>
                    <a:pt x="7" y="44"/>
                  </a:lnTo>
                  <a:lnTo>
                    <a:pt x="5" y="50"/>
                  </a:lnTo>
                  <a:lnTo>
                    <a:pt x="4" y="57"/>
                  </a:lnTo>
                  <a:lnTo>
                    <a:pt x="2" y="65"/>
                  </a:lnTo>
                  <a:lnTo>
                    <a:pt x="4" y="71"/>
                  </a:lnTo>
                  <a:lnTo>
                    <a:pt x="7" y="86"/>
                  </a:lnTo>
                  <a:lnTo>
                    <a:pt x="13" y="99"/>
                  </a:lnTo>
                  <a:lnTo>
                    <a:pt x="7" y="104"/>
                  </a:lnTo>
                  <a:lnTo>
                    <a:pt x="5" y="110"/>
                  </a:lnTo>
                  <a:lnTo>
                    <a:pt x="2" y="115"/>
                  </a:lnTo>
                  <a:lnTo>
                    <a:pt x="0" y="121"/>
                  </a:lnTo>
                  <a:lnTo>
                    <a:pt x="0" y="127"/>
                  </a:lnTo>
                  <a:lnTo>
                    <a:pt x="0" y="133"/>
                  </a:lnTo>
                  <a:lnTo>
                    <a:pt x="1" y="145"/>
                  </a:lnTo>
                  <a:lnTo>
                    <a:pt x="4" y="158"/>
                  </a:lnTo>
                  <a:lnTo>
                    <a:pt x="6" y="163"/>
                  </a:lnTo>
                  <a:lnTo>
                    <a:pt x="9" y="167"/>
                  </a:lnTo>
                  <a:lnTo>
                    <a:pt x="11" y="172"/>
                  </a:lnTo>
                  <a:lnTo>
                    <a:pt x="15" y="175"/>
                  </a:lnTo>
                  <a:lnTo>
                    <a:pt x="18" y="188"/>
                  </a:lnTo>
                  <a:lnTo>
                    <a:pt x="20" y="199"/>
                  </a:lnTo>
                  <a:lnTo>
                    <a:pt x="25" y="208"/>
                  </a:lnTo>
                  <a:lnTo>
                    <a:pt x="31" y="217"/>
                  </a:lnTo>
                  <a:lnTo>
                    <a:pt x="37" y="224"/>
                  </a:lnTo>
                  <a:lnTo>
                    <a:pt x="43" y="230"/>
                  </a:lnTo>
                  <a:lnTo>
                    <a:pt x="50" y="234"/>
                  </a:lnTo>
                  <a:lnTo>
                    <a:pt x="56" y="238"/>
                  </a:lnTo>
                  <a:lnTo>
                    <a:pt x="56" y="270"/>
                  </a:lnTo>
                  <a:lnTo>
                    <a:pt x="43" y="274"/>
                  </a:lnTo>
                  <a:lnTo>
                    <a:pt x="31" y="279"/>
                  </a:lnTo>
                  <a:lnTo>
                    <a:pt x="42" y="287"/>
                  </a:lnTo>
                  <a:lnTo>
                    <a:pt x="52" y="294"/>
                  </a:lnTo>
                  <a:lnTo>
                    <a:pt x="61" y="302"/>
                  </a:lnTo>
                  <a:lnTo>
                    <a:pt x="68" y="310"/>
                  </a:lnTo>
                  <a:lnTo>
                    <a:pt x="73" y="318"/>
                  </a:lnTo>
                  <a:lnTo>
                    <a:pt x="77" y="324"/>
                  </a:lnTo>
                  <a:lnTo>
                    <a:pt x="79" y="332"/>
                  </a:lnTo>
                  <a:lnTo>
                    <a:pt x="81" y="338"/>
                  </a:lnTo>
                  <a:lnTo>
                    <a:pt x="81" y="482"/>
                  </a:lnTo>
                  <a:lnTo>
                    <a:pt x="285" y="482"/>
                  </a:lnTo>
                  <a:lnTo>
                    <a:pt x="289" y="481"/>
                  </a:lnTo>
                  <a:lnTo>
                    <a:pt x="293" y="478"/>
                  </a:lnTo>
                  <a:lnTo>
                    <a:pt x="295" y="474"/>
                  </a:lnTo>
                  <a:lnTo>
                    <a:pt x="296" y="470"/>
                  </a:lnTo>
                  <a:lnTo>
                    <a:pt x="296" y="334"/>
                  </a:lnTo>
                  <a:lnTo>
                    <a:pt x="295" y="328"/>
                  </a:lnTo>
                  <a:lnTo>
                    <a:pt x="293" y="323"/>
                  </a:lnTo>
                  <a:lnTo>
                    <a:pt x="286" y="318"/>
                  </a:lnTo>
                  <a:lnTo>
                    <a:pt x="278" y="312"/>
                  </a:lnTo>
                  <a:lnTo>
                    <a:pt x="253" y="302"/>
                  </a:lnTo>
                  <a:lnTo>
                    <a:pt x="217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678"/>
            <p:cNvSpPr>
              <a:spLocks/>
            </p:cNvSpPr>
            <p:nvPr/>
          </p:nvSpPr>
          <p:spPr bwMode="auto">
            <a:xfrm>
              <a:off x="9883775" y="5410200"/>
              <a:ext cx="190500" cy="225425"/>
            </a:xfrm>
            <a:custGeom>
              <a:avLst/>
              <a:gdLst>
                <a:gd name="T0" fmla="*/ 421 w 480"/>
                <a:gd name="T1" fmla="*/ 374 h 569"/>
                <a:gd name="T2" fmla="*/ 339 w 480"/>
                <a:gd name="T3" fmla="*/ 333 h 569"/>
                <a:gd name="T4" fmla="*/ 312 w 480"/>
                <a:gd name="T5" fmla="*/ 276 h 569"/>
                <a:gd name="T6" fmla="*/ 316 w 480"/>
                <a:gd name="T7" fmla="*/ 272 h 569"/>
                <a:gd name="T8" fmla="*/ 339 w 480"/>
                <a:gd name="T9" fmla="*/ 226 h 569"/>
                <a:gd name="T10" fmla="*/ 340 w 480"/>
                <a:gd name="T11" fmla="*/ 214 h 569"/>
                <a:gd name="T12" fmla="*/ 345 w 480"/>
                <a:gd name="T13" fmla="*/ 199 h 569"/>
                <a:gd name="T14" fmla="*/ 353 w 480"/>
                <a:gd name="T15" fmla="*/ 190 h 569"/>
                <a:gd name="T16" fmla="*/ 360 w 480"/>
                <a:gd name="T17" fmla="*/ 176 h 569"/>
                <a:gd name="T18" fmla="*/ 361 w 480"/>
                <a:gd name="T19" fmla="*/ 168 h 569"/>
                <a:gd name="T20" fmla="*/ 361 w 480"/>
                <a:gd name="T21" fmla="*/ 159 h 569"/>
                <a:gd name="T22" fmla="*/ 356 w 480"/>
                <a:gd name="T23" fmla="*/ 135 h 569"/>
                <a:gd name="T24" fmla="*/ 347 w 480"/>
                <a:gd name="T25" fmla="*/ 126 h 569"/>
                <a:gd name="T26" fmla="*/ 356 w 480"/>
                <a:gd name="T27" fmla="*/ 100 h 569"/>
                <a:gd name="T28" fmla="*/ 358 w 480"/>
                <a:gd name="T29" fmla="*/ 85 h 569"/>
                <a:gd name="T30" fmla="*/ 358 w 480"/>
                <a:gd name="T31" fmla="*/ 71 h 569"/>
                <a:gd name="T32" fmla="*/ 357 w 480"/>
                <a:gd name="T33" fmla="*/ 54 h 569"/>
                <a:gd name="T34" fmla="*/ 353 w 480"/>
                <a:gd name="T35" fmla="*/ 44 h 569"/>
                <a:gd name="T36" fmla="*/ 349 w 480"/>
                <a:gd name="T37" fmla="*/ 37 h 569"/>
                <a:gd name="T38" fmla="*/ 340 w 480"/>
                <a:gd name="T39" fmla="*/ 27 h 569"/>
                <a:gd name="T40" fmla="*/ 329 w 480"/>
                <a:gd name="T41" fmla="*/ 18 h 569"/>
                <a:gd name="T42" fmla="*/ 298 w 480"/>
                <a:gd name="T43" fmla="*/ 5 h 569"/>
                <a:gd name="T44" fmla="*/ 270 w 480"/>
                <a:gd name="T45" fmla="*/ 0 h 569"/>
                <a:gd name="T46" fmla="*/ 254 w 480"/>
                <a:gd name="T47" fmla="*/ 0 h 569"/>
                <a:gd name="T48" fmla="*/ 235 w 480"/>
                <a:gd name="T49" fmla="*/ 0 h 569"/>
                <a:gd name="T50" fmla="*/ 218 w 480"/>
                <a:gd name="T51" fmla="*/ 3 h 569"/>
                <a:gd name="T52" fmla="*/ 205 w 480"/>
                <a:gd name="T53" fmla="*/ 6 h 569"/>
                <a:gd name="T54" fmla="*/ 194 w 480"/>
                <a:gd name="T55" fmla="*/ 10 h 569"/>
                <a:gd name="T56" fmla="*/ 158 w 480"/>
                <a:gd name="T57" fmla="*/ 39 h 569"/>
                <a:gd name="T58" fmla="*/ 155 w 480"/>
                <a:gd name="T59" fmla="*/ 44 h 569"/>
                <a:gd name="T60" fmla="*/ 141 w 480"/>
                <a:gd name="T61" fmla="*/ 45 h 569"/>
                <a:gd name="T62" fmla="*/ 133 w 480"/>
                <a:gd name="T63" fmla="*/ 48 h 569"/>
                <a:gd name="T64" fmla="*/ 127 w 480"/>
                <a:gd name="T65" fmla="*/ 51 h 569"/>
                <a:gd name="T66" fmla="*/ 123 w 480"/>
                <a:gd name="T67" fmla="*/ 57 h 569"/>
                <a:gd name="T68" fmla="*/ 119 w 480"/>
                <a:gd name="T69" fmla="*/ 66 h 569"/>
                <a:gd name="T70" fmla="*/ 118 w 480"/>
                <a:gd name="T71" fmla="*/ 73 h 569"/>
                <a:gd name="T72" fmla="*/ 118 w 480"/>
                <a:gd name="T73" fmla="*/ 82 h 569"/>
                <a:gd name="T74" fmla="*/ 121 w 480"/>
                <a:gd name="T75" fmla="*/ 91 h 569"/>
                <a:gd name="T76" fmla="*/ 122 w 480"/>
                <a:gd name="T77" fmla="*/ 100 h 569"/>
                <a:gd name="T78" fmla="*/ 126 w 480"/>
                <a:gd name="T79" fmla="*/ 108 h 569"/>
                <a:gd name="T80" fmla="*/ 132 w 480"/>
                <a:gd name="T81" fmla="*/ 125 h 569"/>
                <a:gd name="T82" fmla="*/ 118 w 480"/>
                <a:gd name="T83" fmla="*/ 145 h 569"/>
                <a:gd name="T84" fmla="*/ 117 w 480"/>
                <a:gd name="T85" fmla="*/ 166 h 569"/>
                <a:gd name="T86" fmla="*/ 118 w 480"/>
                <a:gd name="T87" fmla="*/ 171 h 569"/>
                <a:gd name="T88" fmla="*/ 119 w 480"/>
                <a:gd name="T89" fmla="*/ 177 h 569"/>
                <a:gd name="T90" fmla="*/ 132 w 480"/>
                <a:gd name="T91" fmla="*/ 199 h 569"/>
                <a:gd name="T92" fmla="*/ 136 w 480"/>
                <a:gd name="T93" fmla="*/ 202 h 569"/>
                <a:gd name="T94" fmla="*/ 137 w 480"/>
                <a:gd name="T95" fmla="*/ 220 h 569"/>
                <a:gd name="T96" fmla="*/ 151 w 480"/>
                <a:gd name="T97" fmla="*/ 258 h 569"/>
                <a:gd name="T98" fmla="*/ 168 w 480"/>
                <a:gd name="T99" fmla="*/ 312 h 569"/>
                <a:gd name="T100" fmla="*/ 86 w 480"/>
                <a:gd name="T101" fmla="*/ 358 h 569"/>
                <a:gd name="T102" fmla="*/ 18 w 480"/>
                <a:gd name="T103" fmla="*/ 401 h 569"/>
                <a:gd name="T104" fmla="*/ 0 w 480"/>
                <a:gd name="T105" fmla="*/ 421 h 569"/>
                <a:gd name="T106" fmla="*/ 2 w 480"/>
                <a:gd name="T107" fmla="*/ 565 h 569"/>
                <a:gd name="T108" fmla="*/ 469 w 480"/>
                <a:gd name="T109" fmla="*/ 569 h 569"/>
                <a:gd name="T110" fmla="*/ 479 w 480"/>
                <a:gd name="T111" fmla="*/ 421 h 569"/>
                <a:gd name="T112" fmla="*/ 449 w 480"/>
                <a:gd name="T113" fmla="*/ 390 h 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80" h="569">
                  <a:moveTo>
                    <a:pt x="425" y="375"/>
                  </a:moveTo>
                  <a:lnTo>
                    <a:pt x="425" y="375"/>
                  </a:lnTo>
                  <a:lnTo>
                    <a:pt x="424" y="375"/>
                  </a:lnTo>
                  <a:lnTo>
                    <a:pt x="421" y="374"/>
                  </a:lnTo>
                  <a:lnTo>
                    <a:pt x="419" y="372"/>
                  </a:lnTo>
                  <a:lnTo>
                    <a:pt x="393" y="358"/>
                  </a:lnTo>
                  <a:lnTo>
                    <a:pt x="366" y="345"/>
                  </a:lnTo>
                  <a:lnTo>
                    <a:pt x="339" y="333"/>
                  </a:lnTo>
                  <a:lnTo>
                    <a:pt x="312" y="321"/>
                  </a:lnTo>
                  <a:lnTo>
                    <a:pt x="312" y="312"/>
                  </a:lnTo>
                  <a:lnTo>
                    <a:pt x="312" y="281"/>
                  </a:lnTo>
                  <a:lnTo>
                    <a:pt x="312" y="276"/>
                  </a:lnTo>
                  <a:lnTo>
                    <a:pt x="313" y="275"/>
                  </a:lnTo>
                  <a:lnTo>
                    <a:pt x="316" y="272"/>
                  </a:lnTo>
                  <a:lnTo>
                    <a:pt x="316" y="272"/>
                  </a:lnTo>
                  <a:lnTo>
                    <a:pt x="316" y="272"/>
                  </a:lnTo>
                  <a:lnTo>
                    <a:pt x="322" y="266"/>
                  </a:lnTo>
                  <a:lnTo>
                    <a:pt x="329" y="256"/>
                  </a:lnTo>
                  <a:lnTo>
                    <a:pt x="334" y="243"/>
                  </a:lnTo>
                  <a:lnTo>
                    <a:pt x="339" y="226"/>
                  </a:lnTo>
                  <a:lnTo>
                    <a:pt x="339" y="223"/>
                  </a:lnTo>
                  <a:lnTo>
                    <a:pt x="340" y="220"/>
                  </a:lnTo>
                  <a:lnTo>
                    <a:pt x="340" y="217"/>
                  </a:lnTo>
                  <a:lnTo>
                    <a:pt x="340" y="214"/>
                  </a:lnTo>
                  <a:lnTo>
                    <a:pt x="342" y="208"/>
                  </a:lnTo>
                  <a:lnTo>
                    <a:pt x="342" y="202"/>
                  </a:lnTo>
                  <a:lnTo>
                    <a:pt x="344" y="202"/>
                  </a:lnTo>
                  <a:lnTo>
                    <a:pt x="345" y="199"/>
                  </a:lnTo>
                  <a:lnTo>
                    <a:pt x="345" y="199"/>
                  </a:lnTo>
                  <a:lnTo>
                    <a:pt x="345" y="199"/>
                  </a:lnTo>
                  <a:lnTo>
                    <a:pt x="349" y="195"/>
                  </a:lnTo>
                  <a:lnTo>
                    <a:pt x="353" y="190"/>
                  </a:lnTo>
                  <a:lnTo>
                    <a:pt x="357" y="184"/>
                  </a:lnTo>
                  <a:lnTo>
                    <a:pt x="358" y="177"/>
                  </a:lnTo>
                  <a:lnTo>
                    <a:pt x="358" y="176"/>
                  </a:lnTo>
                  <a:lnTo>
                    <a:pt x="360" y="176"/>
                  </a:lnTo>
                  <a:lnTo>
                    <a:pt x="360" y="173"/>
                  </a:lnTo>
                  <a:lnTo>
                    <a:pt x="360" y="171"/>
                  </a:lnTo>
                  <a:lnTo>
                    <a:pt x="361" y="170"/>
                  </a:lnTo>
                  <a:lnTo>
                    <a:pt x="361" y="168"/>
                  </a:lnTo>
                  <a:lnTo>
                    <a:pt x="361" y="167"/>
                  </a:lnTo>
                  <a:lnTo>
                    <a:pt x="361" y="164"/>
                  </a:lnTo>
                  <a:lnTo>
                    <a:pt x="361" y="162"/>
                  </a:lnTo>
                  <a:lnTo>
                    <a:pt x="361" y="159"/>
                  </a:lnTo>
                  <a:lnTo>
                    <a:pt x="361" y="152"/>
                  </a:lnTo>
                  <a:lnTo>
                    <a:pt x="360" y="145"/>
                  </a:lnTo>
                  <a:lnTo>
                    <a:pt x="358" y="140"/>
                  </a:lnTo>
                  <a:lnTo>
                    <a:pt x="356" y="135"/>
                  </a:lnTo>
                  <a:lnTo>
                    <a:pt x="356" y="135"/>
                  </a:lnTo>
                  <a:lnTo>
                    <a:pt x="356" y="135"/>
                  </a:lnTo>
                  <a:lnTo>
                    <a:pt x="351" y="130"/>
                  </a:lnTo>
                  <a:lnTo>
                    <a:pt x="347" y="126"/>
                  </a:lnTo>
                  <a:lnTo>
                    <a:pt x="348" y="122"/>
                  </a:lnTo>
                  <a:lnTo>
                    <a:pt x="349" y="117"/>
                  </a:lnTo>
                  <a:lnTo>
                    <a:pt x="353" y="109"/>
                  </a:lnTo>
                  <a:lnTo>
                    <a:pt x="356" y="100"/>
                  </a:lnTo>
                  <a:lnTo>
                    <a:pt x="356" y="100"/>
                  </a:lnTo>
                  <a:lnTo>
                    <a:pt x="356" y="100"/>
                  </a:lnTo>
                  <a:lnTo>
                    <a:pt x="357" y="92"/>
                  </a:lnTo>
                  <a:lnTo>
                    <a:pt x="358" y="85"/>
                  </a:lnTo>
                  <a:lnTo>
                    <a:pt x="358" y="85"/>
                  </a:lnTo>
                  <a:lnTo>
                    <a:pt x="358" y="85"/>
                  </a:lnTo>
                  <a:lnTo>
                    <a:pt x="358" y="77"/>
                  </a:lnTo>
                  <a:lnTo>
                    <a:pt x="358" y="71"/>
                  </a:lnTo>
                  <a:lnTo>
                    <a:pt x="358" y="69"/>
                  </a:lnTo>
                  <a:lnTo>
                    <a:pt x="358" y="68"/>
                  </a:lnTo>
                  <a:lnTo>
                    <a:pt x="358" y="60"/>
                  </a:lnTo>
                  <a:lnTo>
                    <a:pt x="357" y="54"/>
                  </a:lnTo>
                  <a:lnTo>
                    <a:pt x="356" y="51"/>
                  </a:lnTo>
                  <a:lnTo>
                    <a:pt x="354" y="48"/>
                  </a:lnTo>
                  <a:lnTo>
                    <a:pt x="353" y="46"/>
                  </a:lnTo>
                  <a:lnTo>
                    <a:pt x="353" y="44"/>
                  </a:lnTo>
                  <a:lnTo>
                    <a:pt x="352" y="42"/>
                  </a:lnTo>
                  <a:lnTo>
                    <a:pt x="352" y="42"/>
                  </a:lnTo>
                  <a:lnTo>
                    <a:pt x="351" y="40"/>
                  </a:lnTo>
                  <a:lnTo>
                    <a:pt x="349" y="37"/>
                  </a:lnTo>
                  <a:lnTo>
                    <a:pt x="349" y="37"/>
                  </a:lnTo>
                  <a:lnTo>
                    <a:pt x="349" y="37"/>
                  </a:lnTo>
                  <a:lnTo>
                    <a:pt x="344" y="32"/>
                  </a:lnTo>
                  <a:lnTo>
                    <a:pt x="340" y="27"/>
                  </a:lnTo>
                  <a:lnTo>
                    <a:pt x="335" y="22"/>
                  </a:lnTo>
                  <a:lnTo>
                    <a:pt x="329" y="18"/>
                  </a:lnTo>
                  <a:lnTo>
                    <a:pt x="329" y="18"/>
                  </a:lnTo>
                  <a:lnTo>
                    <a:pt x="329" y="18"/>
                  </a:lnTo>
                  <a:lnTo>
                    <a:pt x="326" y="17"/>
                  </a:lnTo>
                  <a:lnTo>
                    <a:pt x="324" y="15"/>
                  </a:lnTo>
                  <a:lnTo>
                    <a:pt x="311" y="9"/>
                  </a:lnTo>
                  <a:lnTo>
                    <a:pt x="298" y="5"/>
                  </a:lnTo>
                  <a:lnTo>
                    <a:pt x="284" y="3"/>
                  </a:lnTo>
                  <a:lnTo>
                    <a:pt x="270" y="0"/>
                  </a:lnTo>
                  <a:lnTo>
                    <a:pt x="270" y="0"/>
                  </a:lnTo>
                  <a:lnTo>
                    <a:pt x="270" y="0"/>
                  </a:lnTo>
                  <a:lnTo>
                    <a:pt x="266" y="0"/>
                  </a:lnTo>
                  <a:lnTo>
                    <a:pt x="262" y="0"/>
                  </a:lnTo>
                  <a:lnTo>
                    <a:pt x="258" y="0"/>
                  </a:lnTo>
                  <a:lnTo>
                    <a:pt x="254" y="0"/>
                  </a:lnTo>
                  <a:lnTo>
                    <a:pt x="247" y="0"/>
                  </a:lnTo>
                  <a:lnTo>
                    <a:pt x="239" y="0"/>
                  </a:lnTo>
                  <a:lnTo>
                    <a:pt x="238" y="0"/>
                  </a:lnTo>
                  <a:lnTo>
                    <a:pt x="235" y="0"/>
                  </a:lnTo>
                  <a:lnTo>
                    <a:pt x="231" y="1"/>
                  </a:lnTo>
                  <a:lnTo>
                    <a:pt x="226" y="1"/>
                  </a:lnTo>
                  <a:lnTo>
                    <a:pt x="222" y="3"/>
                  </a:lnTo>
                  <a:lnTo>
                    <a:pt x="218" y="3"/>
                  </a:lnTo>
                  <a:lnTo>
                    <a:pt x="216" y="4"/>
                  </a:lnTo>
                  <a:lnTo>
                    <a:pt x="214" y="4"/>
                  </a:lnTo>
                  <a:lnTo>
                    <a:pt x="209" y="5"/>
                  </a:lnTo>
                  <a:lnTo>
                    <a:pt x="205" y="6"/>
                  </a:lnTo>
                  <a:lnTo>
                    <a:pt x="200" y="8"/>
                  </a:lnTo>
                  <a:lnTo>
                    <a:pt x="196" y="9"/>
                  </a:lnTo>
                  <a:lnTo>
                    <a:pt x="195" y="10"/>
                  </a:lnTo>
                  <a:lnTo>
                    <a:pt x="194" y="10"/>
                  </a:lnTo>
                  <a:lnTo>
                    <a:pt x="184" y="15"/>
                  </a:lnTo>
                  <a:lnTo>
                    <a:pt x="173" y="23"/>
                  </a:lnTo>
                  <a:lnTo>
                    <a:pt x="166" y="30"/>
                  </a:lnTo>
                  <a:lnTo>
                    <a:pt x="158" y="39"/>
                  </a:lnTo>
                  <a:lnTo>
                    <a:pt x="158" y="39"/>
                  </a:lnTo>
                  <a:lnTo>
                    <a:pt x="158" y="39"/>
                  </a:lnTo>
                  <a:lnTo>
                    <a:pt x="157" y="41"/>
                  </a:lnTo>
                  <a:lnTo>
                    <a:pt x="155" y="44"/>
                  </a:lnTo>
                  <a:lnTo>
                    <a:pt x="151" y="44"/>
                  </a:lnTo>
                  <a:lnTo>
                    <a:pt x="148" y="44"/>
                  </a:lnTo>
                  <a:lnTo>
                    <a:pt x="144" y="44"/>
                  </a:lnTo>
                  <a:lnTo>
                    <a:pt x="141" y="45"/>
                  </a:lnTo>
                  <a:lnTo>
                    <a:pt x="140" y="45"/>
                  </a:lnTo>
                  <a:lnTo>
                    <a:pt x="139" y="45"/>
                  </a:lnTo>
                  <a:lnTo>
                    <a:pt x="136" y="46"/>
                  </a:lnTo>
                  <a:lnTo>
                    <a:pt x="133" y="48"/>
                  </a:lnTo>
                  <a:lnTo>
                    <a:pt x="132" y="49"/>
                  </a:lnTo>
                  <a:lnTo>
                    <a:pt x="131" y="49"/>
                  </a:lnTo>
                  <a:lnTo>
                    <a:pt x="128" y="50"/>
                  </a:lnTo>
                  <a:lnTo>
                    <a:pt x="127" y="51"/>
                  </a:lnTo>
                  <a:lnTo>
                    <a:pt x="127" y="53"/>
                  </a:lnTo>
                  <a:lnTo>
                    <a:pt x="126" y="53"/>
                  </a:lnTo>
                  <a:lnTo>
                    <a:pt x="125" y="54"/>
                  </a:lnTo>
                  <a:lnTo>
                    <a:pt x="123" y="57"/>
                  </a:lnTo>
                  <a:lnTo>
                    <a:pt x="121" y="60"/>
                  </a:lnTo>
                  <a:lnTo>
                    <a:pt x="119" y="63"/>
                  </a:lnTo>
                  <a:lnTo>
                    <a:pt x="119" y="64"/>
                  </a:lnTo>
                  <a:lnTo>
                    <a:pt x="119" y="66"/>
                  </a:lnTo>
                  <a:lnTo>
                    <a:pt x="119" y="68"/>
                  </a:lnTo>
                  <a:lnTo>
                    <a:pt x="118" y="72"/>
                  </a:lnTo>
                  <a:lnTo>
                    <a:pt x="118" y="72"/>
                  </a:lnTo>
                  <a:lnTo>
                    <a:pt x="118" y="73"/>
                  </a:lnTo>
                  <a:lnTo>
                    <a:pt x="118" y="77"/>
                  </a:lnTo>
                  <a:lnTo>
                    <a:pt x="118" y="80"/>
                  </a:lnTo>
                  <a:lnTo>
                    <a:pt x="118" y="81"/>
                  </a:lnTo>
                  <a:lnTo>
                    <a:pt x="118" y="82"/>
                  </a:lnTo>
                  <a:lnTo>
                    <a:pt x="119" y="86"/>
                  </a:lnTo>
                  <a:lnTo>
                    <a:pt x="119" y="89"/>
                  </a:lnTo>
                  <a:lnTo>
                    <a:pt x="119" y="90"/>
                  </a:lnTo>
                  <a:lnTo>
                    <a:pt x="121" y="91"/>
                  </a:lnTo>
                  <a:lnTo>
                    <a:pt x="121" y="95"/>
                  </a:lnTo>
                  <a:lnTo>
                    <a:pt x="122" y="99"/>
                  </a:lnTo>
                  <a:lnTo>
                    <a:pt x="122" y="99"/>
                  </a:lnTo>
                  <a:lnTo>
                    <a:pt x="122" y="100"/>
                  </a:lnTo>
                  <a:lnTo>
                    <a:pt x="123" y="104"/>
                  </a:lnTo>
                  <a:lnTo>
                    <a:pt x="126" y="108"/>
                  </a:lnTo>
                  <a:lnTo>
                    <a:pt x="126" y="108"/>
                  </a:lnTo>
                  <a:lnTo>
                    <a:pt x="126" y="108"/>
                  </a:lnTo>
                  <a:lnTo>
                    <a:pt x="128" y="117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27" y="128"/>
                  </a:lnTo>
                  <a:lnTo>
                    <a:pt x="123" y="135"/>
                  </a:lnTo>
                  <a:lnTo>
                    <a:pt x="121" y="140"/>
                  </a:lnTo>
                  <a:lnTo>
                    <a:pt x="118" y="145"/>
                  </a:lnTo>
                  <a:lnTo>
                    <a:pt x="117" y="152"/>
                  </a:lnTo>
                  <a:lnTo>
                    <a:pt x="117" y="159"/>
                  </a:lnTo>
                  <a:lnTo>
                    <a:pt x="117" y="162"/>
                  </a:lnTo>
                  <a:lnTo>
                    <a:pt x="117" y="166"/>
                  </a:lnTo>
                  <a:lnTo>
                    <a:pt x="117" y="167"/>
                  </a:lnTo>
                  <a:lnTo>
                    <a:pt x="117" y="170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8" y="175"/>
                  </a:lnTo>
                  <a:lnTo>
                    <a:pt x="119" y="177"/>
                  </a:lnTo>
                  <a:lnTo>
                    <a:pt x="119" y="177"/>
                  </a:lnTo>
                  <a:lnTo>
                    <a:pt x="119" y="177"/>
                  </a:lnTo>
                  <a:lnTo>
                    <a:pt x="121" y="184"/>
                  </a:lnTo>
                  <a:lnTo>
                    <a:pt x="125" y="190"/>
                  </a:lnTo>
                  <a:lnTo>
                    <a:pt x="128" y="195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3" y="202"/>
                  </a:lnTo>
                  <a:lnTo>
                    <a:pt x="136" y="202"/>
                  </a:lnTo>
                  <a:lnTo>
                    <a:pt x="136" y="209"/>
                  </a:lnTo>
                  <a:lnTo>
                    <a:pt x="137" y="216"/>
                  </a:lnTo>
                  <a:lnTo>
                    <a:pt x="137" y="217"/>
                  </a:lnTo>
                  <a:lnTo>
                    <a:pt x="137" y="220"/>
                  </a:lnTo>
                  <a:lnTo>
                    <a:pt x="140" y="231"/>
                  </a:lnTo>
                  <a:lnTo>
                    <a:pt x="144" y="241"/>
                  </a:lnTo>
                  <a:lnTo>
                    <a:pt x="146" y="250"/>
                  </a:lnTo>
                  <a:lnTo>
                    <a:pt x="151" y="258"/>
                  </a:lnTo>
                  <a:lnTo>
                    <a:pt x="159" y="268"/>
                  </a:lnTo>
                  <a:lnTo>
                    <a:pt x="168" y="276"/>
                  </a:lnTo>
                  <a:lnTo>
                    <a:pt x="168" y="281"/>
                  </a:lnTo>
                  <a:lnTo>
                    <a:pt x="168" y="312"/>
                  </a:lnTo>
                  <a:lnTo>
                    <a:pt x="168" y="321"/>
                  </a:lnTo>
                  <a:lnTo>
                    <a:pt x="141" y="333"/>
                  </a:lnTo>
                  <a:lnTo>
                    <a:pt x="113" y="345"/>
                  </a:lnTo>
                  <a:lnTo>
                    <a:pt x="86" y="358"/>
                  </a:lnTo>
                  <a:lnTo>
                    <a:pt x="62" y="372"/>
                  </a:lnTo>
                  <a:lnTo>
                    <a:pt x="46" y="381"/>
                  </a:lnTo>
                  <a:lnTo>
                    <a:pt x="33" y="389"/>
                  </a:lnTo>
                  <a:lnTo>
                    <a:pt x="18" y="401"/>
                  </a:lnTo>
                  <a:lnTo>
                    <a:pt x="8" y="410"/>
                  </a:lnTo>
                  <a:lnTo>
                    <a:pt x="4" y="415"/>
                  </a:lnTo>
                  <a:lnTo>
                    <a:pt x="1" y="419"/>
                  </a:lnTo>
                  <a:lnTo>
                    <a:pt x="0" y="421"/>
                  </a:lnTo>
                  <a:lnTo>
                    <a:pt x="0" y="425"/>
                  </a:lnTo>
                  <a:lnTo>
                    <a:pt x="0" y="557"/>
                  </a:lnTo>
                  <a:lnTo>
                    <a:pt x="0" y="561"/>
                  </a:lnTo>
                  <a:lnTo>
                    <a:pt x="2" y="565"/>
                  </a:lnTo>
                  <a:lnTo>
                    <a:pt x="6" y="568"/>
                  </a:lnTo>
                  <a:lnTo>
                    <a:pt x="11" y="569"/>
                  </a:lnTo>
                  <a:lnTo>
                    <a:pt x="348" y="569"/>
                  </a:lnTo>
                  <a:lnTo>
                    <a:pt x="469" y="569"/>
                  </a:lnTo>
                  <a:lnTo>
                    <a:pt x="480" y="569"/>
                  </a:lnTo>
                  <a:lnTo>
                    <a:pt x="480" y="557"/>
                  </a:lnTo>
                  <a:lnTo>
                    <a:pt x="480" y="425"/>
                  </a:lnTo>
                  <a:lnTo>
                    <a:pt x="479" y="421"/>
                  </a:lnTo>
                  <a:lnTo>
                    <a:pt x="476" y="416"/>
                  </a:lnTo>
                  <a:lnTo>
                    <a:pt x="473" y="411"/>
                  </a:lnTo>
                  <a:lnTo>
                    <a:pt x="466" y="405"/>
                  </a:lnTo>
                  <a:lnTo>
                    <a:pt x="449" y="390"/>
                  </a:lnTo>
                  <a:lnTo>
                    <a:pt x="425" y="3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06" name="Rectangle 105"/>
          <p:cNvSpPr/>
          <p:nvPr/>
        </p:nvSpPr>
        <p:spPr>
          <a:xfrm rot="2700000">
            <a:off x="9703954" y="1827616"/>
            <a:ext cx="1130013" cy="1130013"/>
          </a:xfrm>
          <a:prstGeom prst="rect">
            <a:avLst/>
          </a:prstGeom>
          <a:gradFill flip="none" rotWithShape="1">
            <a:gsLst>
              <a:gs pos="0">
                <a:srgbClr val="4E2230"/>
              </a:gs>
              <a:gs pos="100000">
                <a:srgbClr val="F6443B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" name="Rectangle 136"/>
          <p:cNvSpPr/>
          <p:nvPr/>
        </p:nvSpPr>
        <p:spPr>
          <a:xfrm rot="2700000">
            <a:off x="9876494" y="2003134"/>
            <a:ext cx="784936" cy="784936"/>
          </a:xfrm>
          <a:prstGeom prst="rect">
            <a:avLst/>
          </a:prstGeom>
          <a:gradFill flip="none" rotWithShape="1">
            <a:gsLst>
              <a:gs pos="0">
                <a:srgbClr val="4E2230"/>
              </a:gs>
              <a:gs pos="100000">
                <a:srgbClr val="F6443B"/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" name="Snip Diagonal Corner Rectangle 106"/>
          <p:cNvSpPr/>
          <p:nvPr/>
        </p:nvSpPr>
        <p:spPr>
          <a:xfrm flipH="1">
            <a:off x="9172729" y="2569363"/>
            <a:ext cx="2192462" cy="3756273"/>
          </a:xfrm>
          <a:prstGeom prst="snip2DiagRect">
            <a:avLst>
              <a:gd name="adj1" fmla="val 0"/>
              <a:gd name="adj2" fmla="val 21555"/>
            </a:avLst>
          </a:prstGeom>
          <a:gradFill flip="none" rotWithShape="1">
            <a:gsLst>
              <a:gs pos="100000">
                <a:srgbClr val="69AFC0"/>
              </a:gs>
              <a:gs pos="0">
                <a:srgbClr val="125680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108" name="Freeform 107"/>
          <p:cNvSpPr/>
          <p:nvPr/>
        </p:nvSpPr>
        <p:spPr>
          <a:xfrm rot="18900000" flipH="1">
            <a:off x="9703954" y="1827616"/>
            <a:ext cx="1130013" cy="1130013"/>
          </a:xfrm>
          <a:custGeom>
            <a:avLst/>
            <a:gdLst>
              <a:gd name="connsiteX0" fmla="*/ 0 w 1130013"/>
              <a:gd name="connsiteY0" fmla="*/ 0 h 1130013"/>
              <a:gd name="connsiteX1" fmla="*/ 6598 w 1130013"/>
              <a:gd name="connsiteY1" fmla="*/ 0 h 1130013"/>
              <a:gd name="connsiteX2" fmla="*/ 1130013 w 1130013"/>
              <a:gd name="connsiteY2" fmla="*/ 1123415 h 1130013"/>
              <a:gd name="connsiteX3" fmla="*/ 1130013 w 1130013"/>
              <a:gd name="connsiteY3" fmla="*/ 1130013 h 1130013"/>
              <a:gd name="connsiteX4" fmla="*/ 0 w 1130013"/>
              <a:gd name="connsiteY4" fmla="*/ 1130013 h 1130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0013" h="1130013">
                <a:moveTo>
                  <a:pt x="0" y="0"/>
                </a:moveTo>
                <a:lnTo>
                  <a:pt x="6598" y="0"/>
                </a:lnTo>
                <a:lnTo>
                  <a:pt x="1130013" y="1123415"/>
                </a:lnTo>
                <a:lnTo>
                  <a:pt x="1130013" y="1130013"/>
                </a:lnTo>
                <a:lnTo>
                  <a:pt x="0" y="1130013"/>
                </a:lnTo>
                <a:close/>
              </a:path>
            </a:pathLst>
          </a:custGeom>
          <a:gradFill flip="none" rotWithShape="1">
            <a:gsLst>
              <a:gs pos="100000">
                <a:srgbClr val="F6443B"/>
              </a:gs>
              <a:gs pos="0">
                <a:srgbClr val="F9857F"/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" name="Text Placeholder 2"/>
          <p:cNvSpPr txBox="1">
            <a:spLocks/>
          </p:cNvSpPr>
          <p:nvPr/>
        </p:nvSpPr>
        <p:spPr>
          <a:xfrm>
            <a:off x="9469919" y="3554985"/>
            <a:ext cx="159808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</a:t>
            </a:r>
          </a:p>
        </p:txBody>
      </p:sp>
      <p:sp>
        <p:nvSpPr>
          <p:cNvPr id="110" name="Text Placeholder 2"/>
          <p:cNvSpPr txBox="1">
            <a:spLocks/>
          </p:cNvSpPr>
          <p:nvPr/>
        </p:nvSpPr>
        <p:spPr>
          <a:xfrm>
            <a:off x="9468911" y="3959770"/>
            <a:ext cx="1600098" cy="10674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ts val="1700"/>
              </a:lnSpc>
              <a:spcBef>
                <a:spcPts val="0"/>
              </a:spcBef>
            </a:pPr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is simply dummy text of the printing and typesetting industry. Lorem Ipsum has been the industry's</a:t>
            </a:r>
          </a:p>
        </p:txBody>
      </p:sp>
      <p:sp>
        <p:nvSpPr>
          <p:cNvPr id="112" name="Text Placeholder 2"/>
          <p:cNvSpPr txBox="1">
            <a:spLocks/>
          </p:cNvSpPr>
          <p:nvPr/>
        </p:nvSpPr>
        <p:spPr>
          <a:xfrm>
            <a:off x="10368584" y="2145862"/>
            <a:ext cx="43877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>
              <a:lnSpc>
                <a:spcPct val="100000"/>
              </a:lnSpc>
              <a:spcBef>
                <a:spcPts val="0"/>
              </a:spcBef>
            </a:pPr>
            <a:r>
              <a:rPr lang="en-US" sz="28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04</a:t>
            </a:r>
          </a:p>
        </p:txBody>
      </p:sp>
      <p:grpSp>
        <p:nvGrpSpPr>
          <p:cNvPr id="119" name="Group 118"/>
          <p:cNvGrpSpPr/>
          <p:nvPr/>
        </p:nvGrpSpPr>
        <p:grpSpPr>
          <a:xfrm>
            <a:off x="10039521" y="5409003"/>
            <a:ext cx="458878" cy="529026"/>
            <a:chOff x="896938" y="1943100"/>
            <a:chExt cx="249237" cy="287338"/>
          </a:xfrm>
          <a:solidFill>
            <a:srgbClr val="B0F7F4"/>
          </a:solidFill>
          <a:effectLst/>
        </p:grpSpPr>
        <p:sp>
          <p:nvSpPr>
            <p:cNvPr id="120" name="Freeform 1088"/>
            <p:cNvSpPr>
              <a:spLocks noEditPoints="1"/>
            </p:cNvSpPr>
            <p:nvPr/>
          </p:nvSpPr>
          <p:spPr bwMode="auto">
            <a:xfrm>
              <a:off x="965200" y="1943100"/>
              <a:ext cx="180975" cy="249238"/>
            </a:xfrm>
            <a:custGeom>
              <a:avLst/>
              <a:gdLst>
                <a:gd name="T0" fmla="*/ 301 w 457"/>
                <a:gd name="T1" fmla="*/ 156 h 626"/>
                <a:gd name="T2" fmla="*/ 301 w 457"/>
                <a:gd name="T3" fmla="*/ 12 h 626"/>
                <a:gd name="T4" fmla="*/ 446 w 457"/>
                <a:gd name="T5" fmla="*/ 156 h 626"/>
                <a:gd name="T6" fmla="*/ 301 w 457"/>
                <a:gd name="T7" fmla="*/ 156 h 626"/>
                <a:gd name="T8" fmla="*/ 454 w 457"/>
                <a:gd name="T9" fmla="*/ 148 h 626"/>
                <a:gd name="T10" fmla="*/ 309 w 457"/>
                <a:gd name="T11" fmla="*/ 3 h 626"/>
                <a:gd name="T12" fmla="*/ 305 w 457"/>
                <a:gd name="T13" fmla="*/ 1 h 626"/>
                <a:gd name="T14" fmla="*/ 301 w 457"/>
                <a:gd name="T15" fmla="*/ 0 h 626"/>
                <a:gd name="T16" fmla="*/ 12 w 457"/>
                <a:gd name="T17" fmla="*/ 0 h 626"/>
                <a:gd name="T18" fmla="*/ 7 w 457"/>
                <a:gd name="T19" fmla="*/ 1 h 626"/>
                <a:gd name="T20" fmla="*/ 3 w 457"/>
                <a:gd name="T21" fmla="*/ 4 h 626"/>
                <a:gd name="T22" fmla="*/ 1 w 457"/>
                <a:gd name="T23" fmla="*/ 7 h 626"/>
                <a:gd name="T24" fmla="*/ 0 w 457"/>
                <a:gd name="T25" fmla="*/ 12 h 626"/>
                <a:gd name="T26" fmla="*/ 0 w 457"/>
                <a:gd name="T27" fmla="*/ 72 h 626"/>
                <a:gd name="T28" fmla="*/ 118 w 457"/>
                <a:gd name="T29" fmla="*/ 72 h 626"/>
                <a:gd name="T30" fmla="*/ 122 w 457"/>
                <a:gd name="T31" fmla="*/ 74 h 626"/>
                <a:gd name="T32" fmla="*/ 127 w 457"/>
                <a:gd name="T33" fmla="*/ 76 h 626"/>
                <a:gd name="T34" fmla="*/ 286 w 457"/>
                <a:gd name="T35" fmla="*/ 235 h 626"/>
                <a:gd name="T36" fmla="*/ 288 w 457"/>
                <a:gd name="T37" fmla="*/ 239 h 626"/>
                <a:gd name="T38" fmla="*/ 289 w 457"/>
                <a:gd name="T39" fmla="*/ 244 h 626"/>
                <a:gd name="T40" fmla="*/ 289 w 457"/>
                <a:gd name="T41" fmla="*/ 626 h 626"/>
                <a:gd name="T42" fmla="*/ 446 w 457"/>
                <a:gd name="T43" fmla="*/ 626 h 626"/>
                <a:gd name="T44" fmla="*/ 450 w 457"/>
                <a:gd name="T45" fmla="*/ 625 h 626"/>
                <a:gd name="T46" fmla="*/ 454 w 457"/>
                <a:gd name="T47" fmla="*/ 623 h 626"/>
                <a:gd name="T48" fmla="*/ 457 w 457"/>
                <a:gd name="T49" fmla="*/ 619 h 626"/>
                <a:gd name="T50" fmla="*/ 457 w 457"/>
                <a:gd name="T51" fmla="*/ 614 h 626"/>
                <a:gd name="T52" fmla="*/ 457 w 457"/>
                <a:gd name="T53" fmla="*/ 156 h 626"/>
                <a:gd name="T54" fmla="*/ 457 w 457"/>
                <a:gd name="T55" fmla="*/ 152 h 626"/>
                <a:gd name="T56" fmla="*/ 454 w 457"/>
                <a:gd name="T57" fmla="*/ 148 h 6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57" h="626">
                  <a:moveTo>
                    <a:pt x="301" y="156"/>
                  </a:moveTo>
                  <a:lnTo>
                    <a:pt x="301" y="12"/>
                  </a:lnTo>
                  <a:lnTo>
                    <a:pt x="446" y="156"/>
                  </a:lnTo>
                  <a:lnTo>
                    <a:pt x="301" y="156"/>
                  </a:lnTo>
                  <a:close/>
                  <a:moveTo>
                    <a:pt x="454" y="148"/>
                  </a:moveTo>
                  <a:lnTo>
                    <a:pt x="309" y="3"/>
                  </a:lnTo>
                  <a:lnTo>
                    <a:pt x="305" y="1"/>
                  </a:lnTo>
                  <a:lnTo>
                    <a:pt x="301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3" y="4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72"/>
                  </a:lnTo>
                  <a:lnTo>
                    <a:pt x="118" y="72"/>
                  </a:lnTo>
                  <a:lnTo>
                    <a:pt x="122" y="74"/>
                  </a:lnTo>
                  <a:lnTo>
                    <a:pt x="127" y="76"/>
                  </a:lnTo>
                  <a:lnTo>
                    <a:pt x="286" y="235"/>
                  </a:lnTo>
                  <a:lnTo>
                    <a:pt x="288" y="239"/>
                  </a:lnTo>
                  <a:lnTo>
                    <a:pt x="289" y="244"/>
                  </a:lnTo>
                  <a:lnTo>
                    <a:pt x="289" y="626"/>
                  </a:lnTo>
                  <a:lnTo>
                    <a:pt x="446" y="626"/>
                  </a:lnTo>
                  <a:lnTo>
                    <a:pt x="450" y="625"/>
                  </a:lnTo>
                  <a:lnTo>
                    <a:pt x="454" y="623"/>
                  </a:lnTo>
                  <a:lnTo>
                    <a:pt x="457" y="619"/>
                  </a:lnTo>
                  <a:lnTo>
                    <a:pt x="457" y="614"/>
                  </a:lnTo>
                  <a:lnTo>
                    <a:pt x="457" y="156"/>
                  </a:lnTo>
                  <a:lnTo>
                    <a:pt x="457" y="152"/>
                  </a:lnTo>
                  <a:lnTo>
                    <a:pt x="454" y="1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1" name="Freeform 1089"/>
            <p:cNvSpPr>
              <a:spLocks noEditPoints="1"/>
            </p:cNvSpPr>
            <p:nvPr/>
          </p:nvSpPr>
          <p:spPr bwMode="auto">
            <a:xfrm>
              <a:off x="896938" y="1981200"/>
              <a:ext cx="173038" cy="249238"/>
            </a:xfrm>
            <a:custGeom>
              <a:avLst/>
              <a:gdLst>
                <a:gd name="T0" fmla="*/ 277 w 434"/>
                <a:gd name="T1" fmla="*/ 157 h 627"/>
                <a:gd name="T2" fmla="*/ 277 w 434"/>
                <a:gd name="T3" fmla="*/ 12 h 627"/>
                <a:gd name="T4" fmla="*/ 422 w 434"/>
                <a:gd name="T5" fmla="*/ 157 h 627"/>
                <a:gd name="T6" fmla="*/ 277 w 434"/>
                <a:gd name="T7" fmla="*/ 157 h 627"/>
                <a:gd name="T8" fmla="*/ 277 w 434"/>
                <a:gd name="T9" fmla="*/ 0 h 627"/>
                <a:gd name="T10" fmla="*/ 12 w 434"/>
                <a:gd name="T11" fmla="*/ 0 h 627"/>
                <a:gd name="T12" fmla="*/ 8 w 434"/>
                <a:gd name="T13" fmla="*/ 1 h 627"/>
                <a:gd name="T14" fmla="*/ 4 w 434"/>
                <a:gd name="T15" fmla="*/ 4 h 627"/>
                <a:gd name="T16" fmla="*/ 1 w 434"/>
                <a:gd name="T17" fmla="*/ 8 h 627"/>
                <a:gd name="T18" fmla="*/ 0 w 434"/>
                <a:gd name="T19" fmla="*/ 12 h 627"/>
                <a:gd name="T20" fmla="*/ 0 w 434"/>
                <a:gd name="T21" fmla="*/ 615 h 627"/>
                <a:gd name="T22" fmla="*/ 1 w 434"/>
                <a:gd name="T23" fmla="*/ 620 h 627"/>
                <a:gd name="T24" fmla="*/ 4 w 434"/>
                <a:gd name="T25" fmla="*/ 623 h 627"/>
                <a:gd name="T26" fmla="*/ 8 w 434"/>
                <a:gd name="T27" fmla="*/ 626 h 627"/>
                <a:gd name="T28" fmla="*/ 12 w 434"/>
                <a:gd name="T29" fmla="*/ 627 h 627"/>
                <a:gd name="T30" fmla="*/ 422 w 434"/>
                <a:gd name="T31" fmla="*/ 627 h 627"/>
                <a:gd name="T32" fmla="*/ 426 w 434"/>
                <a:gd name="T33" fmla="*/ 626 h 627"/>
                <a:gd name="T34" fmla="*/ 430 w 434"/>
                <a:gd name="T35" fmla="*/ 623 h 627"/>
                <a:gd name="T36" fmla="*/ 433 w 434"/>
                <a:gd name="T37" fmla="*/ 620 h 627"/>
                <a:gd name="T38" fmla="*/ 434 w 434"/>
                <a:gd name="T39" fmla="*/ 615 h 627"/>
                <a:gd name="T40" fmla="*/ 434 w 434"/>
                <a:gd name="T41" fmla="*/ 157 h 627"/>
                <a:gd name="T42" fmla="*/ 434 w 434"/>
                <a:gd name="T43" fmla="*/ 152 h 627"/>
                <a:gd name="T44" fmla="*/ 282 w 434"/>
                <a:gd name="T45" fmla="*/ 0 h 627"/>
                <a:gd name="T46" fmla="*/ 277 w 434"/>
                <a:gd name="T47" fmla="*/ 0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34" h="627">
                  <a:moveTo>
                    <a:pt x="277" y="157"/>
                  </a:moveTo>
                  <a:lnTo>
                    <a:pt x="277" y="12"/>
                  </a:lnTo>
                  <a:lnTo>
                    <a:pt x="422" y="157"/>
                  </a:lnTo>
                  <a:lnTo>
                    <a:pt x="277" y="157"/>
                  </a:lnTo>
                  <a:close/>
                  <a:moveTo>
                    <a:pt x="277" y="0"/>
                  </a:moveTo>
                  <a:lnTo>
                    <a:pt x="12" y="0"/>
                  </a:lnTo>
                  <a:lnTo>
                    <a:pt x="8" y="1"/>
                  </a:lnTo>
                  <a:lnTo>
                    <a:pt x="4" y="4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615"/>
                  </a:lnTo>
                  <a:lnTo>
                    <a:pt x="1" y="620"/>
                  </a:lnTo>
                  <a:lnTo>
                    <a:pt x="4" y="623"/>
                  </a:lnTo>
                  <a:lnTo>
                    <a:pt x="8" y="626"/>
                  </a:lnTo>
                  <a:lnTo>
                    <a:pt x="12" y="627"/>
                  </a:lnTo>
                  <a:lnTo>
                    <a:pt x="422" y="627"/>
                  </a:lnTo>
                  <a:lnTo>
                    <a:pt x="426" y="626"/>
                  </a:lnTo>
                  <a:lnTo>
                    <a:pt x="430" y="623"/>
                  </a:lnTo>
                  <a:lnTo>
                    <a:pt x="433" y="620"/>
                  </a:lnTo>
                  <a:lnTo>
                    <a:pt x="434" y="615"/>
                  </a:lnTo>
                  <a:lnTo>
                    <a:pt x="434" y="157"/>
                  </a:lnTo>
                  <a:lnTo>
                    <a:pt x="434" y="152"/>
                  </a:lnTo>
                  <a:lnTo>
                    <a:pt x="282" y="0"/>
                  </a:lnTo>
                  <a:lnTo>
                    <a:pt x="27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26" name="Snip Single Corner Rectangle 125"/>
          <p:cNvSpPr/>
          <p:nvPr/>
        </p:nvSpPr>
        <p:spPr>
          <a:xfrm>
            <a:off x="3610359" y="6331449"/>
            <a:ext cx="2192462" cy="1039126"/>
          </a:xfrm>
          <a:prstGeom prst="snip1Rect">
            <a:avLst>
              <a:gd name="adj" fmla="val 44867"/>
            </a:avLst>
          </a:pr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127" name="Snip Single Corner Rectangle 126"/>
          <p:cNvSpPr/>
          <p:nvPr/>
        </p:nvSpPr>
        <p:spPr>
          <a:xfrm>
            <a:off x="829174" y="6331449"/>
            <a:ext cx="2192462" cy="1039126"/>
          </a:xfrm>
          <a:prstGeom prst="snip1Rect">
            <a:avLst>
              <a:gd name="adj" fmla="val 44867"/>
            </a:avLst>
          </a:pr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128" name="Snip Single Corner Rectangle 127"/>
          <p:cNvSpPr/>
          <p:nvPr/>
        </p:nvSpPr>
        <p:spPr>
          <a:xfrm>
            <a:off x="6391544" y="6331449"/>
            <a:ext cx="2192462" cy="1039126"/>
          </a:xfrm>
          <a:prstGeom prst="snip1Rect">
            <a:avLst>
              <a:gd name="adj" fmla="val 44867"/>
            </a:avLst>
          </a:pr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129" name="Snip Single Corner Rectangle 128"/>
          <p:cNvSpPr/>
          <p:nvPr/>
        </p:nvSpPr>
        <p:spPr>
          <a:xfrm>
            <a:off x="9172729" y="6331449"/>
            <a:ext cx="2192462" cy="1039126"/>
          </a:xfrm>
          <a:prstGeom prst="snip1Rect">
            <a:avLst>
              <a:gd name="adj" fmla="val 44867"/>
            </a:avLst>
          </a:prstGeom>
          <a:gradFill flip="none" rotWithShape="1">
            <a:gsLst>
              <a:gs pos="100000">
                <a:srgbClr val="B0F7F4">
                  <a:alpha val="20000"/>
                </a:srgbClr>
              </a:gs>
              <a:gs pos="22000">
                <a:srgbClr val="B0F7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02086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47172D9-FF4C-4490-8703-D1BF54E010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47172D9-FF4C-4490-8703-D1BF54E01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3C4377EE-C2B7-4D94-843A-11D7896101FC}"/>
              </a:ext>
            </a:extLst>
          </p:cNvPr>
          <p:cNvSpPr/>
          <p:nvPr/>
        </p:nvSpPr>
        <p:spPr>
          <a:xfrm>
            <a:off x="4586514" y="0"/>
            <a:ext cx="7605486" cy="6858000"/>
          </a:xfrm>
          <a:prstGeom prst="rect">
            <a:avLst/>
          </a:prstGeom>
          <a:solidFill>
            <a:srgbClr val="2934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1" name="Freeform 223">
            <a:extLst>
              <a:ext uri="{FF2B5EF4-FFF2-40B4-BE49-F238E27FC236}">
                <a16:creationId xmlns:a16="http://schemas.microsoft.com/office/drawing/2014/main" id="{6DAE2AD2-108E-4656-BFD4-CC90EF190DB4}"/>
              </a:ext>
            </a:extLst>
          </p:cNvPr>
          <p:cNvSpPr/>
          <p:nvPr/>
        </p:nvSpPr>
        <p:spPr>
          <a:xfrm rot="18900000" flipH="1">
            <a:off x="9441598" y="4344028"/>
            <a:ext cx="3445693" cy="2914989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solidFill>
            <a:schemeClr val="tx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9" name="Freeform 223">
            <a:extLst>
              <a:ext uri="{FF2B5EF4-FFF2-40B4-BE49-F238E27FC236}">
                <a16:creationId xmlns:a16="http://schemas.microsoft.com/office/drawing/2014/main" id="{AAB54487-6710-47D1-8964-3BC246E59DA4}"/>
              </a:ext>
            </a:extLst>
          </p:cNvPr>
          <p:cNvSpPr/>
          <p:nvPr/>
        </p:nvSpPr>
        <p:spPr>
          <a:xfrm rot="2700000">
            <a:off x="-592835" y="4597363"/>
            <a:ext cx="3145874" cy="2661348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515B6B03-DF77-426E-95B2-111C49BCB137}"/>
              </a:ext>
            </a:extLst>
          </p:cNvPr>
          <p:cNvSpPr/>
          <p:nvPr/>
        </p:nvSpPr>
        <p:spPr>
          <a:xfrm>
            <a:off x="4586515" y="1996154"/>
            <a:ext cx="2373085" cy="604523"/>
          </a:xfrm>
          <a:prstGeom prst="roundRect">
            <a:avLst>
              <a:gd name="adj" fmla="val 50000"/>
            </a:avLst>
          </a:prstGeom>
          <a:solidFill>
            <a:srgbClr val="6DD57E"/>
          </a:solidFill>
          <a:effectLst>
            <a:outerShdw dist="38100" algn="l" rotWithShape="0">
              <a:srgbClr val="43C959"/>
            </a:outerShdw>
          </a:effectLst>
        </p:spPr>
        <p:txBody>
          <a:bodyPr wrap="square" lIns="504000" tIns="0" rIns="0" bIns="0" anchor="ctr" anchorCtr="0">
            <a:noAutofit/>
          </a:bodyPr>
          <a:lstStyle/>
          <a:p>
            <a:r>
              <a:rPr lang="en-US" sz="1600" b="1" dirty="0">
                <a:solidFill>
                  <a:srgbClr val="29345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2FC253A9-D876-4D61-BF78-92D76BB54427}"/>
              </a:ext>
            </a:extLst>
          </p:cNvPr>
          <p:cNvSpPr/>
          <p:nvPr/>
        </p:nvSpPr>
        <p:spPr>
          <a:xfrm>
            <a:off x="4586515" y="3126739"/>
            <a:ext cx="2373085" cy="604523"/>
          </a:xfrm>
          <a:prstGeom prst="roundRect">
            <a:avLst>
              <a:gd name="adj" fmla="val 50000"/>
            </a:avLst>
          </a:prstGeom>
          <a:solidFill>
            <a:srgbClr val="FFD65A"/>
          </a:solidFill>
          <a:effectLst>
            <a:outerShdw dist="38100" algn="l" rotWithShape="0">
              <a:srgbClr val="FFC50D"/>
            </a:outerShdw>
          </a:effectLst>
        </p:spPr>
        <p:txBody>
          <a:bodyPr wrap="square" lIns="504000" tIns="0" rIns="0" bIns="0" anchor="ctr" anchorCtr="0">
            <a:noAutofit/>
          </a:bodyPr>
          <a:lstStyle/>
          <a:p>
            <a:r>
              <a:rPr lang="en-US" sz="1600" b="1" dirty="0">
                <a:solidFill>
                  <a:srgbClr val="29345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6E6E0F38-593B-450A-8F6D-9E133677537B}"/>
              </a:ext>
            </a:extLst>
          </p:cNvPr>
          <p:cNvSpPr/>
          <p:nvPr/>
        </p:nvSpPr>
        <p:spPr>
          <a:xfrm>
            <a:off x="4586515" y="4257322"/>
            <a:ext cx="2373085" cy="604523"/>
          </a:xfrm>
          <a:prstGeom prst="roundRect">
            <a:avLst>
              <a:gd name="adj" fmla="val 50000"/>
            </a:avLst>
          </a:prstGeom>
          <a:solidFill>
            <a:srgbClr val="6DD57E"/>
          </a:solidFill>
          <a:effectLst>
            <a:outerShdw dist="38100" algn="l" rotWithShape="0">
              <a:srgbClr val="43C959"/>
            </a:outerShdw>
          </a:effectLst>
        </p:spPr>
        <p:txBody>
          <a:bodyPr wrap="square" lIns="504000" tIns="0" rIns="0" bIns="0" anchor="ctr" anchorCtr="0">
            <a:noAutofit/>
          </a:bodyPr>
          <a:lstStyle/>
          <a:p>
            <a:r>
              <a:rPr lang="en-US" sz="1600" b="1" dirty="0">
                <a:solidFill>
                  <a:srgbClr val="29345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CDD29676-793B-41C1-9F8C-B4A107B74704}"/>
              </a:ext>
            </a:extLst>
          </p:cNvPr>
          <p:cNvSpPr/>
          <p:nvPr/>
        </p:nvSpPr>
        <p:spPr>
          <a:xfrm>
            <a:off x="4586515" y="5387906"/>
            <a:ext cx="2373085" cy="604523"/>
          </a:xfrm>
          <a:prstGeom prst="roundRect">
            <a:avLst>
              <a:gd name="adj" fmla="val 50000"/>
            </a:avLst>
          </a:prstGeom>
          <a:solidFill>
            <a:srgbClr val="FFD65A"/>
          </a:solidFill>
          <a:effectLst>
            <a:outerShdw dist="38100" algn="l" rotWithShape="0">
              <a:srgbClr val="FFC50D"/>
            </a:outerShdw>
          </a:effectLst>
        </p:spPr>
        <p:txBody>
          <a:bodyPr wrap="square" lIns="504000" tIns="0" rIns="0" bIns="0" anchor="ctr" anchorCtr="0">
            <a:noAutofit/>
          </a:bodyPr>
          <a:lstStyle/>
          <a:p>
            <a:r>
              <a:rPr lang="en-US" sz="1600" b="1" dirty="0">
                <a:solidFill>
                  <a:srgbClr val="29345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97E59FBB-F9DB-4729-A256-3E82D0553DD1}"/>
              </a:ext>
            </a:extLst>
          </p:cNvPr>
          <p:cNvSpPr/>
          <p:nvPr/>
        </p:nvSpPr>
        <p:spPr>
          <a:xfrm>
            <a:off x="4586515" y="862370"/>
            <a:ext cx="2373085" cy="604523"/>
          </a:xfrm>
          <a:prstGeom prst="roundRect">
            <a:avLst>
              <a:gd name="adj" fmla="val 50000"/>
            </a:avLst>
          </a:prstGeom>
          <a:solidFill>
            <a:srgbClr val="FFD65A"/>
          </a:solidFill>
          <a:effectLst>
            <a:outerShdw dist="38100" algn="l" rotWithShape="0">
              <a:srgbClr val="FFC50D"/>
            </a:outerShdw>
          </a:effectLst>
        </p:spPr>
        <p:txBody>
          <a:bodyPr wrap="square" lIns="504000" tIns="0" rIns="0" bIns="0" anchor="ctr" anchorCtr="0">
            <a:noAutofit/>
          </a:bodyPr>
          <a:lstStyle/>
          <a:p>
            <a:r>
              <a:rPr lang="en-US" sz="1600" b="1" dirty="0">
                <a:solidFill>
                  <a:srgbClr val="29345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CE3A3B-1F6B-442F-B4C2-F1B1163726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65125"/>
            <a:ext cx="3438901" cy="981075"/>
          </a:xfrm>
        </p:spPr>
        <p:txBody>
          <a:bodyPr vert="horz"/>
          <a:lstStyle/>
          <a:p>
            <a:r>
              <a:rPr lang="en-US" dirty="0"/>
              <a:t>Key point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2D480C-2EF1-4931-97A2-7DE492395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76E806-B426-4043-B850-C90DEF4A2F9F}" type="slidenum">
              <a:rPr lang="en-US" smtClean="0">
                <a:solidFill>
                  <a:schemeClr val="bg1"/>
                </a:solidFill>
              </a:rPr>
              <a:t>6</a:t>
            </a:fld>
            <a:endParaRPr lang="en-US">
              <a:solidFill>
                <a:schemeClr val="bg1"/>
              </a:solidFill>
            </a:endParaRPr>
          </a:p>
        </p:txBody>
      </p: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460BEC50-F262-486C-B92F-7F33A62F5BD6}"/>
              </a:ext>
            </a:extLst>
          </p:cNvPr>
          <p:cNvGrpSpPr/>
          <p:nvPr/>
        </p:nvGrpSpPr>
        <p:grpSpPr>
          <a:xfrm>
            <a:off x="7126288" y="1724298"/>
            <a:ext cx="5065711" cy="3387636"/>
            <a:chOff x="4586514" y="1724298"/>
            <a:chExt cx="8606972" cy="3387636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BA1C0BAE-0237-4EB6-ADC4-F93E24B0A3BA}"/>
                </a:ext>
              </a:extLst>
            </p:cNvPr>
            <p:cNvCxnSpPr/>
            <p:nvPr/>
          </p:nvCxnSpPr>
          <p:spPr>
            <a:xfrm>
              <a:off x="4586514" y="1724298"/>
              <a:ext cx="8606972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83EB7615-4306-4B0E-8B0C-B6204C26E30D}"/>
                </a:ext>
              </a:extLst>
            </p:cNvPr>
            <p:cNvCxnSpPr/>
            <p:nvPr/>
          </p:nvCxnSpPr>
          <p:spPr>
            <a:xfrm>
              <a:off x="4586514" y="2853510"/>
              <a:ext cx="8606972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44B22E2-390E-43BA-9B68-AE7A1AA38470}"/>
                </a:ext>
              </a:extLst>
            </p:cNvPr>
            <p:cNvCxnSpPr/>
            <p:nvPr/>
          </p:nvCxnSpPr>
          <p:spPr>
            <a:xfrm>
              <a:off x="4586514" y="3982722"/>
              <a:ext cx="8606972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8E942EA6-B5F2-47F0-977C-595C569AF1E6}"/>
                </a:ext>
              </a:extLst>
            </p:cNvPr>
            <p:cNvCxnSpPr/>
            <p:nvPr/>
          </p:nvCxnSpPr>
          <p:spPr>
            <a:xfrm>
              <a:off x="4586514" y="5111934"/>
              <a:ext cx="8606972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BDF7C1AB-E3C2-4901-B6D2-EDAD14EF6CCD}"/>
              </a:ext>
            </a:extLst>
          </p:cNvPr>
          <p:cNvSpPr/>
          <p:nvPr/>
        </p:nvSpPr>
        <p:spPr>
          <a:xfrm rot="16200000">
            <a:off x="4143973" y="667919"/>
            <a:ext cx="885082" cy="999826"/>
          </a:xfrm>
          <a:custGeom>
            <a:avLst/>
            <a:gdLst>
              <a:gd name="connsiteX0" fmla="*/ 1172913 w 2345826"/>
              <a:gd name="connsiteY0" fmla="*/ 0 h 2649945"/>
              <a:gd name="connsiteX1" fmla="*/ 2345826 w 2345826"/>
              <a:gd name="connsiteY1" fmla="*/ 1172913 h 2649945"/>
              <a:gd name="connsiteX2" fmla="*/ 1521702 w 2345826"/>
              <a:gd name="connsiteY2" fmla="*/ 2293094 h 2649945"/>
              <a:gd name="connsiteX3" fmla="*/ 1520205 w 2345826"/>
              <a:gd name="connsiteY3" fmla="*/ 2293479 h 2649945"/>
              <a:gd name="connsiteX4" fmla="*/ 1172914 w 2345826"/>
              <a:gd name="connsiteY4" fmla="*/ 2649945 h 2649945"/>
              <a:gd name="connsiteX5" fmla="*/ 825623 w 2345826"/>
              <a:gd name="connsiteY5" fmla="*/ 2293480 h 2649945"/>
              <a:gd name="connsiteX6" fmla="*/ 824125 w 2345826"/>
              <a:gd name="connsiteY6" fmla="*/ 2293094 h 2649945"/>
              <a:gd name="connsiteX7" fmla="*/ 0 w 2345826"/>
              <a:gd name="connsiteY7" fmla="*/ 1172913 h 2649945"/>
              <a:gd name="connsiteX8" fmla="*/ 1172913 w 2345826"/>
              <a:gd name="connsiteY8" fmla="*/ 0 h 2649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45826" h="2649945">
                <a:moveTo>
                  <a:pt x="1172913" y="0"/>
                </a:moveTo>
                <a:cubicBezTo>
                  <a:pt x="1820695" y="0"/>
                  <a:pt x="2345826" y="525131"/>
                  <a:pt x="2345826" y="1172913"/>
                </a:cubicBezTo>
                <a:cubicBezTo>
                  <a:pt x="2345826" y="1699236"/>
                  <a:pt x="1999158" y="2144590"/>
                  <a:pt x="1521702" y="2293094"/>
                </a:cubicBezTo>
                <a:lnTo>
                  <a:pt x="1520205" y="2293479"/>
                </a:lnTo>
                <a:lnTo>
                  <a:pt x="1172914" y="2649945"/>
                </a:lnTo>
                <a:lnTo>
                  <a:pt x="825623" y="2293480"/>
                </a:lnTo>
                <a:lnTo>
                  <a:pt x="824125" y="2293094"/>
                </a:lnTo>
                <a:cubicBezTo>
                  <a:pt x="346669" y="2144590"/>
                  <a:pt x="0" y="1699236"/>
                  <a:pt x="0" y="1172913"/>
                </a:cubicBezTo>
                <a:cubicBezTo>
                  <a:pt x="0" y="525131"/>
                  <a:pt x="525131" y="0"/>
                  <a:pt x="117291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A7375118-5FEB-408A-91F6-BE77EDF9ECF8}"/>
              </a:ext>
            </a:extLst>
          </p:cNvPr>
          <p:cNvSpPr/>
          <p:nvPr/>
        </p:nvSpPr>
        <p:spPr>
          <a:xfrm rot="16200000">
            <a:off x="4143973" y="1798503"/>
            <a:ext cx="885082" cy="999826"/>
          </a:xfrm>
          <a:custGeom>
            <a:avLst/>
            <a:gdLst>
              <a:gd name="connsiteX0" fmla="*/ 1172913 w 2345826"/>
              <a:gd name="connsiteY0" fmla="*/ 0 h 2649945"/>
              <a:gd name="connsiteX1" fmla="*/ 2345826 w 2345826"/>
              <a:gd name="connsiteY1" fmla="*/ 1172913 h 2649945"/>
              <a:gd name="connsiteX2" fmla="*/ 1521702 w 2345826"/>
              <a:gd name="connsiteY2" fmla="*/ 2293094 h 2649945"/>
              <a:gd name="connsiteX3" fmla="*/ 1520205 w 2345826"/>
              <a:gd name="connsiteY3" fmla="*/ 2293479 h 2649945"/>
              <a:gd name="connsiteX4" fmla="*/ 1172914 w 2345826"/>
              <a:gd name="connsiteY4" fmla="*/ 2649945 h 2649945"/>
              <a:gd name="connsiteX5" fmla="*/ 825623 w 2345826"/>
              <a:gd name="connsiteY5" fmla="*/ 2293480 h 2649945"/>
              <a:gd name="connsiteX6" fmla="*/ 824125 w 2345826"/>
              <a:gd name="connsiteY6" fmla="*/ 2293094 h 2649945"/>
              <a:gd name="connsiteX7" fmla="*/ 0 w 2345826"/>
              <a:gd name="connsiteY7" fmla="*/ 1172913 h 2649945"/>
              <a:gd name="connsiteX8" fmla="*/ 1172913 w 2345826"/>
              <a:gd name="connsiteY8" fmla="*/ 0 h 2649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45826" h="2649945">
                <a:moveTo>
                  <a:pt x="1172913" y="0"/>
                </a:moveTo>
                <a:cubicBezTo>
                  <a:pt x="1820695" y="0"/>
                  <a:pt x="2345826" y="525131"/>
                  <a:pt x="2345826" y="1172913"/>
                </a:cubicBezTo>
                <a:cubicBezTo>
                  <a:pt x="2345826" y="1699236"/>
                  <a:pt x="1999158" y="2144590"/>
                  <a:pt x="1521702" y="2293094"/>
                </a:cubicBezTo>
                <a:lnTo>
                  <a:pt x="1520205" y="2293479"/>
                </a:lnTo>
                <a:lnTo>
                  <a:pt x="1172914" y="2649945"/>
                </a:lnTo>
                <a:lnTo>
                  <a:pt x="825623" y="2293480"/>
                </a:lnTo>
                <a:lnTo>
                  <a:pt x="824125" y="2293094"/>
                </a:lnTo>
                <a:cubicBezTo>
                  <a:pt x="346669" y="2144590"/>
                  <a:pt x="0" y="1699236"/>
                  <a:pt x="0" y="1172913"/>
                </a:cubicBezTo>
                <a:cubicBezTo>
                  <a:pt x="0" y="525131"/>
                  <a:pt x="525131" y="0"/>
                  <a:pt x="117291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9C88444A-A05D-4D84-A696-86F528C563F5}"/>
              </a:ext>
            </a:extLst>
          </p:cNvPr>
          <p:cNvSpPr/>
          <p:nvPr/>
        </p:nvSpPr>
        <p:spPr>
          <a:xfrm rot="16200000">
            <a:off x="4143973" y="2929087"/>
            <a:ext cx="885082" cy="999826"/>
          </a:xfrm>
          <a:custGeom>
            <a:avLst/>
            <a:gdLst>
              <a:gd name="connsiteX0" fmla="*/ 1172913 w 2345826"/>
              <a:gd name="connsiteY0" fmla="*/ 0 h 2649945"/>
              <a:gd name="connsiteX1" fmla="*/ 2345826 w 2345826"/>
              <a:gd name="connsiteY1" fmla="*/ 1172913 h 2649945"/>
              <a:gd name="connsiteX2" fmla="*/ 1521702 w 2345826"/>
              <a:gd name="connsiteY2" fmla="*/ 2293094 h 2649945"/>
              <a:gd name="connsiteX3" fmla="*/ 1520205 w 2345826"/>
              <a:gd name="connsiteY3" fmla="*/ 2293479 h 2649945"/>
              <a:gd name="connsiteX4" fmla="*/ 1172914 w 2345826"/>
              <a:gd name="connsiteY4" fmla="*/ 2649945 h 2649945"/>
              <a:gd name="connsiteX5" fmla="*/ 825623 w 2345826"/>
              <a:gd name="connsiteY5" fmla="*/ 2293480 h 2649945"/>
              <a:gd name="connsiteX6" fmla="*/ 824125 w 2345826"/>
              <a:gd name="connsiteY6" fmla="*/ 2293094 h 2649945"/>
              <a:gd name="connsiteX7" fmla="*/ 0 w 2345826"/>
              <a:gd name="connsiteY7" fmla="*/ 1172913 h 2649945"/>
              <a:gd name="connsiteX8" fmla="*/ 1172913 w 2345826"/>
              <a:gd name="connsiteY8" fmla="*/ 0 h 2649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45826" h="2649945">
                <a:moveTo>
                  <a:pt x="1172913" y="0"/>
                </a:moveTo>
                <a:cubicBezTo>
                  <a:pt x="1820695" y="0"/>
                  <a:pt x="2345826" y="525131"/>
                  <a:pt x="2345826" y="1172913"/>
                </a:cubicBezTo>
                <a:cubicBezTo>
                  <a:pt x="2345826" y="1699236"/>
                  <a:pt x="1999158" y="2144590"/>
                  <a:pt x="1521702" y="2293094"/>
                </a:cubicBezTo>
                <a:lnTo>
                  <a:pt x="1520205" y="2293479"/>
                </a:lnTo>
                <a:lnTo>
                  <a:pt x="1172914" y="2649945"/>
                </a:lnTo>
                <a:lnTo>
                  <a:pt x="825623" y="2293480"/>
                </a:lnTo>
                <a:lnTo>
                  <a:pt x="824125" y="2293094"/>
                </a:lnTo>
                <a:cubicBezTo>
                  <a:pt x="346669" y="2144590"/>
                  <a:pt x="0" y="1699236"/>
                  <a:pt x="0" y="1172913"/>
                </a:cubicBezTo>
                <a:cubicBezTo>
                  <a:pt x="0" y="525131"/>
                  <a:pt x="525131" y="0"/>
                  <a:pt x="117291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59F4E3F-FA52-406A-9A55-07F145ABD342}"/>
              </a:ext>
            </a:extLst>
          </p:cNvPr>
          <p:cNvSpPr/>
          <p:nvPr/>
        </p:nvSpPr>
        <p:spPr>
          <a:xfrm rot="16200000">
            <a:off x="4143973" y="4059671"/>
            <a:ext cx="885082" cy="999826"/>
          </a:xfrm>
          <a:custGeom>
            <a:avLst/>
            <a:gdLst>
              <a:gd name="connsiteX0" fmla="*/ 1172913 w 2345826"/>
              <a:gd name="connsiteY0" fmla="*/ 0 h 2649945"/>
              <a:gd name="connsiteX1" fmla="*/ 2345826 w 2345826"/>
              <a:gd name="connsiteY1" fmla="*/ 1172913 h 2649945"/>
              <a:gd name="connsiteX2" fmla="*/ 1521702 w 2345826"/>
              <a:gd name="connsiteY2" fmla="*/ 2293094 h 2649945"/>
              <a:gd name="connsiteX3" fmla="*/ 1520205 w 2345826"/>
              <a:gd name="connsiteY3" fmla="*/ 2293479 h 2649945"/>
              <a:gd name="connsiteX4" fmla="*/ 1172914 w 2345826"/>
              <a:gd name="connsiteY4" fmla="*/ 2649945 h 2649945"/>
              <a:gd name="connsiteX5" fmla="*/ 825623 w 2345826"/>
              <a:gd name="connsiteY5" fmla="*/ 2293480 h 2649945"/>
              <a:gd name="connsiteX6" fmla="*/ 824125 w 2345826"/>
              <a:gd name="connsiteY6" fmla="*/ 2293094 h 2649945"/>
              <a:gd name="connsiteX7" fmla="*/ 0 w 2345826"/>
              <a:gd name="connsiteY7" fmla="*/ 1172913 h 2649945"/>
              <a:gd name="connsiteX8" fmla="*/ 1172913 w 2345826"/>
              <a:gd name="connsiteY8" fmla="*/ 0 h 2649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45826" h="2649945">
                <a:moveTo>
                  <a:pt x="1172913" y="0"/>
                </a:moveTo>
                <a:cubicBezTo>
                  <a:pt x="1820695" y="0"/>
                  <a:pt x="2345826" y="525131"/>
                  <a:pt x="2345826" y="1172913"/>
                </a:cubicBezTo>
                <a:cubicBezTo>
                  <a:pt x="2345826" y="1699236"/>
                  <a:pt x="1999158" y="2144590"/>
                  <a:pt x="1521702" y="2293094"/>
                </a:cubicBezTo>
                <a:lnTo>
                  <a:pt x="1520205" y="2293479"/>
                </a:lnTo>
                <a:lnTo>
                  <a:pt x="1172914" y="2649945"/>
                </a:lnTo>
                <a:lnTo>
                  <a:pt x="825623" y="2293480"/>
                </a:lnTo>
                <a:lnTo>
                  <a:pt x="824125" y="2293094"/>
                </a:lnTo>
                <a:cubicBezTo>
                  <a:pt x="346669" y="2144590"/>
                  <a:pt x="0" y="1699236"/>
                  <a:pt x="0" y="1172913"/>
                </a:cubicBezTo>
                <a:cubicBezTo>
                  <a:pt x="0" y="525131"/>
                  <a:pt x="525131" y="0"/>
                  <a:pt x="117291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2D08BAB5-C2E1-4345-B0FB-2466C8D705C6}"/>
              </a:ext>
            </a:extLst>
          </p:cNvPr>
          <p:cNvSpPr/>
          <p:nvPr/>
        </p:nvSpPr>
        <p:spPr>
          <a:xfrm rot="16200000">
            <a:off x="4143973" y="5190255"/>
            <a:ext cx="885082" cy="999826"/>
          </a:xfrm>
          <a:custGeom>
            <a:avLst/>
            <a:gdLst>
              <a:gd name="connsiteX0" fmla="*/ 1172913 w 2345826"/>
              <a:gd name="connsiteY0" fmla="*/ 0 h 2649945"/>
              <a:gd name="connsiteX1" fmla="*/ 2345826 w 2345826"/>
              <a:gd name="connsiteY1" fmla="*/ 1172913 h 2649945"/>
              <a:gd name="connsiteX2" fmla="*/ 1521702 w 2345826"/>
              <a:gd name="connsiteY2" fmla="*/ 2293094 h 2649945"/>
              <a:gd name="connsiteX3" fmla="*/ 1520205 w 2345826"/>
              <a:gd name="connsiteY3" fmla="*/ 2293479 h 2649945"/>
              <a:gd name="connsiteX4" fmla="*/ 1172914 w 2345826"/>
              <a:gd name="connsiteY4" fmla="*/ 2649945 h 2649945"/>
              <a:gd name="connsiteX5" fmla="*/ 825623 w 2345826"/>
              <a:gd name="connsiteY5" fmla="*/ 2293480 h 2649945"/>
              <a:gd name="connsiteX6" fmla="*/ 824125 w 2345826"/>
              <a:gd name="connsiteY6" fmla="*/ 2293094 h 2649945"/>
              <a:gd name="connsiteX7" fmla="*/ 0 w 2345826"/>
              <a:gd name="connsiteY7" fmla="*/ 1172913 h 2649945"/>
              <a:gd name="connsiteX8" fmla="*/ 1172913 w 2345826"/>
              <a:gd name="connsiteY8" fmla="*/ 0 h 2649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45826" h="2649945">
                <a:moveTo>
                  <a:pt x="1172913" y="0"/>
                </a:moveTo>
                <a:cubicBezTo>
                  <a:pt x="1820695" y="0"/>
                  <a:pt x="2345826" y="525131"/>
                  <a:pt x="2345826" y="1172913"/>
                </a:cubicBezTo>
                <a:cubicBezTo>
                  <a:pt x="2345826" y="1699236"/>
                  <a:pt x="1999158" y="2144590"/>
                  <a:pt x="1521702" y="2293094"/>
                </a:cubicBezTo>
                <a:lnTo>
                  <a:pt x="1520205" y="2293479"/>
                </a:lnTo>
                <a:lnTo>
                  <a:pt x="1172914" y="2649945"/>
                </a:lnTo>
                <a:lnTo>
                  <a:pt x="825623" y="2293480"/>
                </a:lnTo>
                <a:lnTo>
                  <a:pt x="824125" y="2293094"/>
                </a:lnTo>
                <a:cubicBezTo>
                  <a:pt x="346669" y="2144590"/>
                  <a:pt x="0" y="1699236"/>
                  <a:pt x="0" y="1172913"/>
                </a:cubicBezTo>
                <a:cubicBezTo>
                  <a:pt x="0" y="525131"/>
                  <a:pt x="525131" y="0"/>
                  <a:pt x="117291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A9C1C2F8-2F83-4D1E-8D48-4ED7A955F0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6066" y="898752"/>
            <a:ext cx="543237" cy="541605"/>
          </a:xfrm>
          <a:prstGeom prst="ellipse">
            <a:avLst/>
          </a:prstGeom>
          <a:solidFill>
            <a:srgbClr val="FFD65A"/>
          </a:solidFill>
          <a:ln w="3175" cap="flat">
            <a:noFill/>
            <a:prstDash val="solid"/>
            <a:miter lim="800000"/>
            <a:headEnd/>
            <a:tailEnd/>
          </a:ln>
          <a:effectLst>
            <a:outerShdw dist="38100" algn="l" rotWithShape="0">
              <a:srgbClr val="FFC50D"/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kern="0">
              <a:solidFill>
                <a:prstClr val="black"/>
              </a:solidFill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41E4CE0-0E48-4D54-BA63-D2DA9F23E6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6066" y="2027613"/>
            <a:ext cx="543237" cy="541605"/>
          </a:xfrm>
          <a:prstGeom prst="ellipse">
            <a:avLst/>
          </a:prstGeom>
          <a:solidFill>
            <a:srgbClr val="6DD57E"/>
          </a:solidFill>
          <a:ln w="3175" cap="flat">
            <a:noFill/>
            <a:prstDash val="solid"/>
            <a:miter lim="800000"/>
            <a:headEnd/>
            <a:tailEnd/>
          </a:ln>
          <a:effectLst>
            <a:outerShdw dist="38100" algn="l" rotWithShape="0">
              <a:srgbClr val="43C959"/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kern="0">
              <a:solidFill>
                <a:prstClr val="black"/>
              </a:solidFill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5D91DF7-140C-4FAF-BC8F-0B7B5CE8F9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6066" y="3158197"/>
            <a:ext cx="543237" cy="541605"/>
          </a:xfrm>
          <a:prstGeom prst="ellipse">
            <a:avLst/>
          </a:prstGeom>
          <a:solidFill>
            <a:srgbClr val="FFD65A"/>
          </a:solidFill>
          <a:ln w="3175" cap="flat">
            <a:noFill/>
            <a:prstDash val="solid"/>
            <a:miter lim="800000"/>
            <a:headEnd/>
            <a:tailEnd/>
          </a:ln>
          <a:effectLst>
            <a:outerShdw dist="38100" algn="l" rotWithShape="0">
              <a:srgbClr val="FFC50D"/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kern="0">
              <a:solidFill>
                <a:prstClr val="black"/>
              </a:solidFill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F1ECAC69-302F-45B9-B47B-1CB6C8ADF5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6066" y="4287058"/>
            <a:ext cx="543237" cy="541605"/>
          </a:xfrm>
          <a:prstGeom prst="ellipse">
            <a:avLst/>
          </a:prstGeom>
          <a:solidFill>
            <a:srgbClr val="6DD57E"/>
          </a:solidFill>
          <a:ln w="3175" cap="flat">
            <a:noFill/>
            <a:prstDash val="solid"/>
            <a:miter lim="800000"/>
            <a:headEnd/>
            <a:tailEnd/>
          </a:ln>
          <a:effectLst>
            <a:outerShdw dist="38100" algn="l" rotWithShape="0">
              <a:srgbClr val="43C959"/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kern="0">
              <a:solidFill>
                <a:prstClr val="black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121A5CD7-FDAA-45E5-9297-46B269F7B9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6066" y="5419364"/>
            <a:ext cx="543237" cy="541605"/>
          </a:xfrm>
          <a:prstGeom prst="ellipse">
            <a:avLst/>
          </a:prstGeom>
          <a:solidFill>
            <a:srgbClr val="FFD65A"/>
          </a:solidFill>
          <a:ln w="3175" cap="flat">
            <a:noFill/>
            <a:prstDash val="solid"/>
            <a:miter lim="800000"/>
            <a:headEnd/>
            <a:tailEnd/>
          </a:ln>
          <a:effectLst>
            <a:outerShdw dist="38100" algn="l" rotWithShape="0">
              <a:srgbClr val="FFC50D"/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kern="0">
              <a:solidFill>
                <a:prstClr val="black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477D269-C182-4D31-B3E7-59623057E2EA}"/>
              </a:ext>
            </a:extLst>
          </p:cNvPr>
          <p:cNvSpPr/>
          <p:nvPr/>
        </p:nvSpPr>
        <p:spPr>
          <a:xfrm>
            <a:off x="7150100" y="852492"/>
            <a:ext cx="4584699" cy="61440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unc in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et</a:t>
            </a:r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Morbi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fficitur</a:t>
            </a:r>
            <a:endParaRPr lang="en-US" sz="1600" i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8" name="Group 4">
            <a:extLst>
              <a:ext uri="{FF2B5EF4-FFF2-40B4-BE49-F238E27FC236}">
                <a16:creationId xmlns:a16="http://schemas.microsoft.com/office/drawing/2014/main" id="{89CC587C-C88F-402D-ABC1-6920D7FD1FF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9083" y="1673352"/>
            <a:ext cx="2817091" cy="4129189"/>
            <a:chOff x="-128" y="155"/>
            <a:chExt cx="2731" cy="4003"/>
          </a:xfrm>
        </p:grpSpPr>
        <p:sp>
          <p:nvSpPr>
            <p:cNvPr id="40" name="Oval 5">
              <a:extLst>
                <a:ext uri="{FF2B5EF4-FFF2-40B4-BE49-F238E27FC236}">
                  <a16:creationId xmlns:a16="http://schemas.microsoft.com/office/drawing/2014/main" id="{9D78C8EF-4D13-4947-A9DB-76B19285D3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4" y="3999"/>
              <a:ext cx="739" cy="95"/>
            </a:xfrm>
            <a:prstGeom prst="ellipse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090AFDA1-04A4-4788-A86C-9DB4C6C16D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" y="855"/>
              <a:ext cx="977" cy="976"/>
            </a:xfrm>
            <a:custGeom>
              <a:avLst/>
              <a:gdLst>
                <a:gd name="T0" fmla="*/ 118 w 411"/>
                <a:gd name="T1" fmla="*/ 59 h 411"/>
                <a:gd name="T2" fmla="*/ 159 w 411"/>
                <a:gd name="T3" fmla="*/ 42 h 411"/>
                <a:gd name="T4" fmla="*/ 167 w 411"/>
                <a:gd name="T5" fmla="*/ 1 h 411"/>
                <a:gd name="T6" fmla="*/ 236 w 411"/>
                <a:gd name="T7" fmla="*/ 0 h 411"/>
                <a:gd name="T8" fmla="*/ 246 w 411"/>
                <a:gd name="T9" fmla="*/ 40 h 411"/>
                <a:gd name="T10" fmla="*/ 288 w 411"/>
                <a:gd name="T11" fmla="*/ 56 h 411"/>
                <a:gd name="T12" fmla="*/ 323 w 411"/>
                <a:gd name="T13" fmla="*/ 34 h 411"/>
                <a:gd name="T14" fmla="*/ 373 w 411"/>
                <a:gd name="T15" fmla="*/ 82 h 411"/>
                <a:gd name="T16" fmla="*/ 351 w 411"/>
                <a:gd name="T17" fmla="*/ 117 h 411"/>
                <a:gd name="T18" fmla="*/ 369 w 411"/>
                <a:gd name="T19" fmla="*/ 158 h 411"/>
                <a:gd name="T20" fmla="*/ 410 w 411"/>
                <a:gd name="T21" fmla="*/ 167 h 411"/>
                <a:gd name="T22" fmla="*/ 411 w 411"/>
                <a:gd name="T23" fmla="*/ 236 h 411"/>
                <a:gd name="T24" fmla="*/ 370 w 411"/>
                <a:gd name="T25" fmla="*/ 246 h 411"/>
                <a:gd name="T26" fmla="*/ 354 w 411"/>
                <a:gd name="T27" fmla="*/ 288 h 411"/>
                <a:gd name="T28" fmla="*/ 377 w 411"/>
                <a:gd name="T29" fmla="*/ 323 h 411"/>
                <a:gd name="T30" fmla="*/ 329 w 411"/>
                <a:gd name="T31" fmla="*/ 372 h 411"/>
                <a:gd name="T32" fmla="*/ 293 w 411"/>
                <a:gd name="T33" fmla="*/ 351 h 411"/>
                <a:gd name="T34" fmla="*/ 252 w 411"/>
                <a:gd name="T35" fmla="*/ 369 h 411"/>
                <a:gd name="T36" fmla="*/ 244 w 411"/>
                <a:gd name="T37" fmla="*/ 409 h 411"/>
                <a:gd name="T38" fmla="*/ 175 w 411"/>
                <a:gd name="T39" fmla="*/ 411 h 411"/>
                <a:gd name="T40" fmla="*/ 165 w 411"/>
                <a:gd name="T41" fmla="*/ 370 h 411"/>
                <a:gd name="T42" fmla="*/ 123 w 411"/>
                <a:gd name="T43" fmla="*/ 354 h 411"/>
                <a:gd name="T44" fmla="*/ 88 w 411"/>
                <a:gd name="T45" fmla="*/ 376 h 411"/>
                <a:gd name="T46" fmla="*/ 38 w 411"/>
                <a:gd name="T47" fmla="*/ 329 h 411"/>
                <a:gd name="T48" fmla="*/ 60 w 411"/>
                <a:gd name="T49" fmla="*/ 293 h 411"/>
                <a:gd name="T50" fmla="*/ 42 w 411"/>
                <a:gd name="T51" fmla="*/ 252 h 411"/>
                <a:gd name="T52" fmla="*/ 1 w 411"/>
                <a:gd name="T53" fmla="*/ 243 h 411"/>
                <a:gd name="T54" fmla="*/ 0 w 411"/>
                <a:gd name="T55" fmla="*/ 174 h 411"/>
                <a:gd name="T56" fmla="*/ 40 w 411"/>
                <a:gd name="T57" fmla="*/ 164 h 411"/>
                <a:gd name="T58" fmla="*/ 57 w 411"/>
                <a:gd name="T59" fmla="*/ 122 h 411"/>
                <a:gd name="T60" fmla="*/ 34 w 411"/>
                <a:gd name="T61" fmla="*/ 88 h 411"/>
                <a:gd name="T62" fmla="*/ 82 w 411"/>
                <a:gd name="T63" fmla="*/ 38 h 411"/>
                <a:gd name="T64" fmla="*/ 118 w 411"/>
                <a:gd name="T65" fmla="*/ 59 h 411"/>
                <a:gd name="T66" fmla="*/ 154 w 411"/>
                <a:gd name="T67" fmla="*/ 151 h 411"/>
                <a:gd name="T68" fmla="*/ 156 w 411"/>
                <a:gd name="T69" fmla="*/ 256 h 411"/>
                <a:gd name="T70" fmla="*/ 261 w 411"/>
                <a:gd name="T71" fmla="*/ 254 h 411"/>
                <a:gd name="T72" fmla="*/ 259 w 411"/>
                <a:gd name="T73" fmla="*/ 150 h 411"/>
                <a:gd name="T74" fmla="*/ 154 w 411"/>
                <a:gd name="T75" fmla="*/ 151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11" h="411">
                  <a:moveTo>
                    <a:pt x="118" y="59"/>
                  </a:moveTo>
                  <a:cubicBezTo>
                    <a:pt x="131" y="52"/>
                    <a:pt x="145" y="46"/>
                    <a:pt x="159" y="42"/>
                  </a:cubicBezTo>
                  <a:cubicBezTo>
                    <a:pt x="167" y="1"/>
                    <a:pt x="167" y="1"/>
                    <a:pt x="167" y="1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46" y="40"/>
                    <a:pt x="246" y="40"/>
                    <a:pt x="246" y="40"/>
                  </a:cubicBezTo>
                  <a:cubicBezTo>
                    <a:pt x="261" y="44"/>
                    <a:pt x="275" y="49"/>
                    <a:pt x="288" y="56"/>
                  </a:cubicBezTo>
                  <a:cubicBezTo>
                    <a:pt x="323" y="34"/>
                    <a:pt x="323" y="34"/>
                    <a:pt x="323" y="34"/>
                  </a:cubicBezTo>
                  <a:cubicBezTo>
                    <a:pt x="373" y="82"/>
                    <a:pt x="373" y="82"/>
                    <a:pt x="373" y="82"/>
                  </a:cubicBezTo>
                  <a:cubicBezTo>
                    <a:pt x="351" y="117"/>
                    <a:pt x="351" y="117"/>
                    <a:pt x="351" y="117"/>
                  </a:cubicBezTo>
                  <a:cubicBezTo>
                    <a:pt x="359" y="130"/>
                    <a:pt x="365" y="144"/>
                    <a:pt x="369" y="158"/>
                  </a:cubicBezTo>
                  <a:cubicBezTo>
                    <a:pt x="410" y="167"/>
                    <a:pt x="410" y="167"/>
                    <a:pt x="410" y="167"/>
                  </a:cubicBezTo>
                  <a:cubicBezTo>
                    <a:pt x="411" y="236"/>
                    <a:pt x="411" y="236"/>
                    <a:pt x="411" y="236"/>
                  </a:cubicBezTo>
                  <a:cubicBezTo>
                    <a:pt x="370" y="246"/>
                    <a:pt x="370" y="246"/>
                    <a:pt x="370" y="246"/>
                  </a:cubicBezTo>
                  <a:cubicBezTo>
                    <a:pt x="367" y="260"/>
                    <a:pt x="361" y="274"/>
                    <a:pt x="354" y="288"/>
                  </a:cubicBezTo>
                  <a:cubicBezTo>
                    <a:pt x="377" y="323"/>
                    <a:pt x="377" y="323"/>
                    <a:pt x="377" y="323"/>
                  </a:cubicBezTo>
                  <a:cubicBezTo>
                    <a:pt x="329" y="372"/>
                    <a:pt x="329" y="372"/>
                    <a:pt x="329" y="372"/>
                  </a:cubicBezTo>
                  <a:cubicBezTo>
                    <a:pt x="293" y="351"/>
                    <a:pt x="293" y="351"/>
                    <a:pt x="293" y="351"/>
                  </a:cubicBezTo>
                  <a:cubicBezTo>
                    <a:pt x="280" y="358"/>
                    <a:pt x="266" y="364"/>
                    <a:pt x="252" y="369"/>
                  </a:cubicBezTo>
                  <a:cubicBezTo>
                    <a:pt x="244" y="409"/>
                    <a:pt x="244" y="409"/>
                    <a:pt x="244" y="409"/>
                  </a:cubicBezTo>
                  <a:cubicBezTo>
                    <a:pt x="175" y="411"/>
                    <a:pt x="175" y="411"/>
                    <a:pt x="175" y="411"/>
                  </a:cubicBezTo>
                  <a:cubicBezTo>
                    <a:pt x="165" y="370"/>
                    <a:pt x="165" y="370"/>
                    <a:pt x="165" y="370"/>
                  </a:cubicBezTo>
                  <a:cubicBezTo>
                    <a:pt x="150" y="366"/>
                    <a:pt x="136" y="361"/>
                    <a:pt x="123" y="354"/>
                  </a:cubicBezTo>
                  <a:cubicBezTo>
                    <a:pt x="88" y="376"/>
                    <a:pt x="88" y="376"/>
                    <a:pt x="88" y="376"/>
                  </a:cubicBezTo>
                  <a:cubicBezTo>
                    <a:pt x="38" y="329"/>
                    <a:pt x="38" y="329"/>
                    <a:pt x="38" y="329"/>
                  </a:cubicBezTo>
                  <a:cubicBezTo>
                    <a:pt x="60" y="293"/>
                    <a:pt x="60" y="293"/>
                    <a:pt x="60" y="293"/>
                  </a:cubicBezTo>
                  <a:cubicBezTo>
                    <a:pt x="52" y="280"/>
                    <a:pt x="46" y="266"/>
                    <a:pt x="42" y="252"/>
                  </a:cubicBezTo>
                  <a:cubicBezTo>
                    <a:pt x="1" y="243"/>
                    <a:pt x="1" y="243"/>
                    <a:pt x="1" y="243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40" y="164"/>
                    <a:pt x="40" y="164"/>
                    <a:pt x="40" y="164"/>
                  </a:cubicBezTo>
                  <a:cubicBezTo>
                    <a:pt x="44" y="150"/>
                    <a:pt x="49" y="136"/>
                    <a:pt x="57" y="122"/>
                  </a:cubicBezTo>
                  <a:cubicBezTo>
                    <a:pt x="34" y="88"/>
                    <a:pt x="34" y="88"/>
                    <a:pt x="34" y="88"/>
                  </a:cubicBezTo>
                  <a:cubicBezTo>
                    <a:pt x="82" y="38"/>
                    <a:pt x="82" y="38"/>
                    <a:pt x="82" y="38"/>
                  </a:cubicBezTo>
                  <a:lnTo>
                    <a:pt x="118" y="59"/>
                  </a:lnTo>
                  <a:close/>
                  <a:moveTo>
                    <a:pt x="154" y="151"/>
                  </a:moveTo>
                  <a:cubicBezTo>
                    <a:pt x="126" y="181"/>
                    <a:pt x="127" y="228"/>
                    <a:pt x="156" y="256"/>
                  </a:cubicBezTo>
                  <a:cubicBezTo>
                    <a:pt x="186" y="284"/>
                    <a:pt x="232" y="284"/>
                    <a:pt x="261" y="254"/>
                  </a:cubicBezTo>
                  <a:cubicBezTo>
                    <a:pt x="289" y="225"/>
                    <a:pt x="288" y="178"/>
                    <a:pt x="259" y="150"/>
                  </a:cubicBezTo>
                  <a:cubicBezTo>
                    <a:pt x="230" y="121"/>
                    <a:pt x="183" y="122"/>
                    <a:pt x="154" y="151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8C17F344-DF07-47E1-8BDE-6856882EE6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2" y="1197"/>
              <a:ext cx="753" cy="753"/>
            </a:xfrm>
            <a:custGeom>
              <a:avLst/>
              <a:gdLst>
                <a:gd name="T0" fmla="*/ 116 w 317"/>
                <a:gd name="T1" fmla="*/ 36 h 317"/>
                <a:gd name="T2" fmla="*/ 150 w 317"/>
                <a:gd name="T3" fmla="*/ 29 h 317"/>
                <a:gd name="T4" fmla="*/ 163 w 317"/>
                <a:gd name="T5" fmla="*/ 0 h 317"/>
                <a:gd name="T6" fmla="*/ 214 w 317"/>
                <a:gd name="T7" fmla="*/ 10 h 317"/>
                <a:gd name="T8" fmla="*/ 215 w 317"/>
                <a:gd name="T9" fmla="*/ 42 h 317"/>
                <a:gd name="T10" fmla="*/ 244 w 317"/>
                <a:gd name="T11" fmla="*/ 61 h 317"/>
                <a:gd name="T12" fmla="*/ 273 w 317"/>
                <a:gd name="T13" fmla="*/ 49 h 317"/>
                <a:gd name="T14" fmla="*/ 303 w 317"/>
                <a:gd name="T15" fmla="*/ 93 h 317"/>
                <a:gd name="T16" fmla="*/ 281 w 317"/>
                <a:gd name="T17" fmla="*/ 116 h 317"/>
                <a:gd name="T18" fmla="*/ 288 w 317"/>
                <a:gd name="T19" fmla="*/ 150 h 317"/>
                <a:gd name="T20" fmla="*/ 317 w 317"/>
                <a:gd name="T21" fmla="*/ 162 h 317"/>
                <a:gd name="T22" fmla="*/ 307 w 317"/>
                <a:gd name="T23" fmla="*/ 214 h 317"/>
                <a:gd name="T24" fmla="*/ 275 w 317"/>
                <a:gd name="T25" fmla="*/ 215 h 317"/>
                <a:gd name="T26" fmla="*/ 256 w 317"/>
                <a:gd name="T27" fmla="*/ 244 h 317"/>
                <a:gd name="T28" fmla="*/ 268 w 317"/>
                <a:gd name="T29" fmla="*/ 273 h 317"/>
                <a:gd name="T30" fmla="*/ 224 w 317"/>
                <a:gd name="T31" fmla="*/ 303 h 317"/>
                <a:gd name="T32" fmla="*/ 201 w 317"/>
                <a:gd name="T33" fmla="*/ 281 h 317"/>
                <a:gd name="T34" fmla="*/ 167 w 317"/>
                <a:gd name="T35" fmla="*/ 288 h 317"/>
                <a:gd name="T36" fmla="*/ 155 w 317"/>
                <a:gd name="T37" fmla="*/ 317 h 317"/>
                <a:gd name="T38" fmla="*/ 103 w 317"/>
                <a:gd name="T39" fmla="*/ 307 h 317"/>
                <a:gd name="T40" fmla="*/ 102 w 317"/>
                <a:gd name="T41" fmla="*/ 275 h 317"/>
                <a:gd name="T42" fmla="*/ 73 w 317"/>
                <a:gd name="T43" fmla="*/ 256 h 317"/>
                <a:gd name="T44" fmla="*/ 44 w 317"/>
                <a:gd name="T45" fmla="*/ 267 h 317"/>
                <a:gd name="T46" fmla="*/ 14 w 317"/>
                <a:gd name="T47" fmla="*/ 224 h 317"/>
                <a:gd name="T48" fmla="*/ 36 w 317"/>
                <a:gd name="T49" fmla="*/ 201 h 317"/>
                <a:gd name="T50" fmla="*/ 29 w 317"/>
                <a:gd name="T51" fmla="*/ 167 h 317"/>
                <a:gd name="T52" fmla="*/ 0 w 317"/>
                <a:gd name="T53" fmla="*/ 154 h 317"/>
                <a:gd name="T54" fmla="*/ 10 w 317"/>
                <a:gd name="T55" fmla="*/ 103 h 317"/>
                <a:gd name="T56" fmla="*/ 42 w 317"/>
                <a:gd name="T57" fmla="*/ 102 h 317"/>
                <a:gd name="T58" fmla="*/ 61 w 317"/>
                <a:gd name="T59" fmla="*/ 73 h 317"/>
                <a:gd name="T60" fmla="*/ 50 w 317"/>
                <a:gd name="T61" fmla="*/ 43 h 317"/>
                <a:gd name="T62" fmla="*/ 93 w 317"/>
                <a:gd name="T63" fmla="*/ 14 h 317"/>
                <a:gd name="T64" fmla="*/ 116 w 317"/>
                <a:gd name="T65" fmla="*/ 36 h 317"/>
                <a:gd name="T66" fmla="*/ 129 w 317"/>
                <a:gd name="T67" fmla="*/ 110 h 317"/>
                <a:gd name="T68" fmla="*/ 114 w 317"/>
                <a:gd name="T69" fmla="*/ 188 h 317"/>
                <a:gd name="T70" fmla="*/ 192 w 317"/>
                <a:gd name="T71" fmla="*/ 204 h 317"/>
                <a:gd name="T72" fmla="*/ 207 w 317"/>
                <a:gd name="T73" fmla="*/ 125 h 317"/>
                <a:gd name="T74" fmla="*/ 129 w 317"/>
                <a:gd name="T75" fmla="*/ 11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17" h="317">
                  <a:moveTo>
                    <a:pt x="116" y="36"/>
                  </a:moveTo>
                  <a:cubicBezTo>
                    <a:pt x="127" y="32"/>
                    <a:pt x="139" y="30"/>
                    <a:pt x="150" y="29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214" y="10"/>
                    <a:pt x="214" y="10"/>
                    <a:pt x="214" y="10"/>
                  </a:cubicBezTo>
                  <a:cubicBezTo>
                    <a:pt x="215" y="42"/>
                    <a:pt x="215" y="42"/>
                    <a:pt x="215" y="42"/>
                  </a:cubicBezTo>
                  <a:cubicBezTo>
                    <a:pt x="225" y="47"/>
                    <a:pt x="235" y="53"/>
                    <a:pt x="244" y="61"/>
                  </a:cubicBezTo>
                  <a:cubicBezTo>
                    <a:pt x="273" y="49"/>
                    <a:pt x="273" y="49"/>
                    <a:pt x="273" y="49"/>
                  </a:cubicBezTo>
                  <a:cubicBezTo>
                    <a:pt x="303" y="93"/>
                    <a:pt x="303" y="93"/>
                    <a:pt x="303" y="93"/>
                  </a:cubicBezTo>
                  <a:cubicBezTo>
                    <a:pt x="281" y="116"/>
                    <a:pt x="281" y="116"/>
                    <a:pt x="281" y="116"/>
                  </a:cubicBezTo>
                  <a:cubicBezTo>
                    <a:pt x="285" y="127"/>
                    <a:pt x="287" y="138"/>
                    <a:pt x="288" y="150"/>
                  </a:cubicBezTo>
                  <a:cubicBezTo>
                    <a:pt x="317" y="162"/>
                    <a:pt x="317" y="162"/>
                    <a:pt x="317" y="162"/>
                  </a:cubicBezTo>
                  <a:cubicBezTo>
                    <a:pt x="307" y="214"/>
                    <a:pt x="307" y="214"/>
                    <a:pt x="307" y="214"/>
                  </a:cubicBezTo>
                  <a:cubicBezTo>
                    <a:pt x="275" y="215"/>
                    <a:pt x="275" y="215"/>
                    <a:pt x="275" y="215"/>
                  </a:cubicBezTo>
                  <a:cubicBezTo>
                    <a:pt x="270" y="225"/>
                    <a:pt x="264" y="235"/>
                    <a:pt x="256" y="244"/>
                  </a:cubicBezTo>
                  <a:cubicBezTo>
                    <a:pt x="268" y="273"/>
                    <a:pt x="268" y="273"/>
                    <a:pt x="268" y="273"/>
                  </a:cubicBezTo>
                  <a:cubicBezTo>
                    <a:pt x="224" y="303"/>
                    <a:pt x="224" y="303"/>
                    <a:pt x="224" y="303"/>
                  </a:cubicBezTo>
                  <a:cubicBezTo>
                    <a:pt x="201" y="281"/>
                    <a:pt x="201" y="281"/>
                    <a:pt x="201" y="281"/>
                  </a:cubicBezTo>
                  <a:cubicBezTo>
                    <a:pt x="190" y="285"/>
                    <a:pt x="179" y="287"/>
                    <a:pt x="167" y="288"/>
                  </a:cubicBezTo>
                  <a:cubicBezTo>
                    <a:pt x="155" y="317"/>
                    <a:pt x="155" y="317"/>
                    <a:pt x="155" y="31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2" y="275"/>
                    <a:pt x="102" y="275"/>
                    <a:pt x="102" y="275"/>
                  </a:cubicBezTo>
                  <a:cubicBezTo>
                    <a:pt x="92" y="270"/>
                    <a:pt x="82" y="264"/>
                    <a:pt x="73" y="256"/>
                  </a:cubicBezTo>
                  <a:cubicBezTo>
                    <a:pt x="44" y="267"/>
                    <a:pt x="44" y="267"/>
                    <a:pt x="44" y="267"/>
                  </a:cubicBezTo>
                  <a:cubicBezTo>
                    <a:pt x="14" y="224"/>
                    <a:pt x="14" y="224"/>
                    <a:pt x="14" y="224"/>
                  </a:cubicBezTo>
                  <a:cubicBezTo>
                    <a:pt x="36" y="201"/>
                    <a:pt x="36" y="201"/>
                    <a:pt x="36" y="201"/>
                  </a:cubicBezTo>
                  <a:cubicBezTo>
                    <a:pt x="32" y="190"/>
                    <a:pt x="30" y="178"/>
                    <a:pt x="29" y="167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10" y="103"/>
                    <a:pt x="10" y="103"/>
                    <a:pt x="10" y="103"/>
                  </a:cubicBezTo>
                  <a:cubicBezTo>
                    <a:pt x="42" y="102"/>
                    <a:pt x="42" y="102"/>
                    <a:pt x="42" y="102"/>
                  </a:cubicBezTo>
                  <a:cubicBezTo>
                    <a:pt x="47" y="91"/>
                    <a:pt x="53" y="82"/>
                    <a:pt x="61" y="73"/>
                  </a:cubicBezTo>
                  <a:cubicBezTo>
                    <a:pt x="50" y="43"/>
                    <a:pt x="50" y="43"/>
                    <a:pt x="50" y="43"/>
                  </a:cubicBezTo>
                  <a:cubicBezTo>
                    <a:pt x="93" y="14"/>
                    <a:pt x="93" y="14"/>
                    <a:pt x="93" y="14"/>
                  </a:cubicBezTo>
                  <a:lnTo>
                    <a:pt x="116" y="36"/>
                  </a:lnTo>
                  <a:close/>
                  <a:moveTo>
                    <a:pt x="129" y="110"/>
                  </a:moveTo>
                  <a:cubicBezTo>
                    <a:pt x="103" y="128"/>
                    <a:pt x="96" y="163"/>
                    <a:pt x="114" y="188"/>
                  </a:cubicBezTo>
                  <a:cubicBezTo>
                    <a:pt x="131" y="214"/>
                    <a:pt x="166" y="221"/>
                    <a:pt x="192" y="204"/>
                  </a:cubicBezTo>
                  <a:cubicBezTo>
                    <a:pt x="218" y="186"/>
                    <a:pt x="225" y="151"/>
                    <a:pt x="207" y="125"/>
                  </a:cubicBezTo>
                  <a:cubicBezTo>
                    <a:pt x="190" y="100"/>
                    <a:pt x="155" y="93"/>
                    <a:pt x="129" y="11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54D33346-EE68-4954-8E5A-03C4BD618E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8" y="278"/>
              <a:ext cx="1262" cy="905"/>
            </a:xfrm>
            <a:custGeom>
              <a:avLst/>
              <a:gdLst>
                <a:gd name="T0" fmla="*/ 514 w 531"/>
                <a:gd name="T1" fmla="*/ 241 h 381"/>
                <a:gd name="T2" fmla="*/ 460 w 531"/>
                <a:gd name="T3" fmla="*/ 156 h 381"/>
                <a:gd name="T4" fmla="*/ 318 w 531"/>
                <a:gd name="T5" fmla="*/ 50 h 381"/>
                <a:gd name="T6" fmla="*/ 115 w 531"/>
                <a:gd name="T7" fmla="*/ 1 h 381"/>
                <a:gd name="T8" fmla="*/ 36 w 531"/>
                <a:gd name="T9" fmla="*/ 14 h 381"/>
                <a:gd name="T10" fmla="*/ 1 w 531"/>
                <a:gd name="T11" fmla="*/ 57 h 381"/>
                <a:gd name="T12" fmla="*/ 26 w 531"/>
                <a:gd name="T13" fmla="*/ 108 h 381"/>
                <a:gd name="T14" fmla="*/ 201 w 531"/>
                <a:gd name="T15" fmla="*/ 175 h 381"/>
                <a:gd name="T16" fmla="*/ 362 w 531"/>
                <a:gd name="T17" fmla="*/ 281 h 381"/>
                <a:gd name="T18" fmla="*/ 422 w 531"/>
                <a:gd name="T19" fmla="*/ 365 h 381"/>
                <a:gd name="T20" fmla="*/ 512 w 531"/>
                <a:gd name="T21" fmla="*/ 337 h 381"/>
                <a:gd name="T22" fmla="*/ 514 w 531"/>
                <a:gd name="T23" fmla="*/ 24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31" h="381">
                  <a:moveTo>
                    <a:pt x="514" y="241"/>
                  </a:moveTo>
                  <a:cubicBezTo>
                    <a:pt x="502" y="209"/>
                    <a:pt x="484" y="180"/>
                    <a:pt x="460" y="156"/>
                  </a:cubicBezTo>
                  <a:cubicBezTo>
                    <a:pt x="418" y="114"/>
                    <a:pt x="371" y="77"/>
                    <a:pt x="318" y="50"/>
                  </a:cubicBezTo>
                  <a:cubicBezTo>
                    <a:pt x="265" y="24"/>
                    <a:pt x="178" y="1"/>
                    <a:pt x="115" y="1"/>
                  </a:cubicBezTo>
                  <a:cubicBezTo>
                    <a:pt x="82" y="0"/>
                    <a:pt x="66" y="2"/>
                    <a:pt x="36" y="14"/>
                  </a:cubicBezTo>
                  <a:cubicBezTo>
                    <a:pt x="18" y="21"/>
                    <a:pt x="2" y="37"/>
                    <a:pt x="1" y="57"/>
                  </a:cubicBezTo>
                  <a:cubicBezTo>
                    <a:pt x="0" y="75"/>
                    <a:pt x="11" y="97"/>
                    <a:pt x="26" y="108"/>
                  </a:cubicBezTo>
                  <a:cubicBezTo>
                    <a:pt x="90" y="153"/>
                    <a:pt x="139" y="156"/>
                    <a:pt x="201" y="175"/>
                  </a:cubicBezTo>
                  <a:cubicBezTo>
                    <a:pt x="264" y="195"/>
                    <a:pt x="328" y="225"/>
                    <a:pt x="362" y="281"/>
                  </a:cubicBezTo>
                  <a:cubicBezTo>
                    <a:pt x="380" y="311"/>
                    <a:pt x="390" y="349"/>
                    <a:pt x="422" y="365"/>
                  </a:cubicBezTo>
                  <a:cubicBezTo>
                    <a:pt x="453" y="381"/>
                    <a:pt x="493" y="366"/>
                    <a:pt x="512" y="337"/>
                  </a:cubicBezTo>
                  <a:cubicBezTo>
                    <a:pt x="531" y="309"/>
                    <a:pt x="526" y="273"/>
                    <a:pt x="514" y="241"/>
                  </a:cubicBezTo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03434BB8-BE62-42B7-8BA1-EA727E9D49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" y="3192"/>
              <a:ext cx="1355" cy="156"/>
            </a:xfrm>
            <a:custGeom>
              <a:avLst/>
              <a:gdLst>
                <a:gd name="T0" fmla="*/ 533 w 570"/>
                <a:gd name="T1" fmla="*/ 66 h 66"/>
                <a:gd name="T2" fmla="*/ 37 w 570"/>
                <a:gd name="T3" fmla="*/ 65 h 66"/>
                <a:gd name="T4" fmla="*/ 0 w 570"/>
                <a:gd name="T5" fmla="*/ 33 h 66"/>
                <a:gd name="T6" fmla="*/ 37 w 570"/>
                <a:gd name="T7" fmla="*/ 1 h 66"/>
                <a:gd name="T8" fmla="*/ 533 w 570"/>
                <a:gd name="T9" fmla="*/ 2 h 66"/>
                <a:gd name="T10" fmla="*/ 570 w 570"/>
                <a:gd name="T11" fmla="*/ 34 h 66"/>
                <a:gd name="T12" fmla="*/ 533 w 570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0" h="66">
                  <a:moveTo>
                    <a:pt x="533" y="66"/>
                  </a:moveTo>
                  <a:cubicBezTo>
                    <a:pt x="37" y="65"/>
                    <a:pt x="37" y="65"/>
                    <a:pt x="37" y="65"/>
                  </a:cubicBezTo>
                  <a:cubicBezTo>
                    <a:pt x="16" y="65"/>
                    <a:pt x="0" y="50"/>
                    <a:pt x="0" y="33"/>
                  </a:cubicBezTo>
                  <a:cubicBezTo>
                    <a:pt x="0" y="15"/>
                    <a:pt x="17" y="0"/>
                    <a:pt x="37" y="1"/>
                  </a:cubicBezTo>
                  <a:cubicBezTo>
                    <a:pt x="533" y="2"/>
                    <a:pt x="533" y="2"/>
                    <a:pt x="533" y="2"/>
                  </a:cubicBezTo>
                  <a:cubicBezTo>
                    <a:pt x="554" y="2"/>
                    <a:pt x="570" y="16"/>
                    <a:pt x="570" y="34"/>
                  </a:cubicBezTo>
                  <a:cubicBezTo>
                    <a:pt x="570" y="52"/>
                    <a:pt x="553" y="66"/>
                    <a:pt x="533" y="66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D7D31437-994A-4738-A8F1-FD7943DF7B6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" y="3006"/>
              <a:ext cx="1355" cy="157"/>
            </a:xfrm>
            <a:custGeom>
              <a:avLst/>
              <a:gdLst>
                <a:gd name="T0" fmla="*/ 533 w 570"/>
                <a:gd name="T1" fmla="*/ 66 h 66"/>
                <a:gd name="T2" fmla="*/ 37 w 570"/>
                <a:gd name="T3" fmla="*/ 65 h 66"/>
                <a:gd name="T4" fmla="*/ 0 w 570"/>
                <a:gd name="T5" fmla="*/ 32 h 66"/>
                <a:gd name="T6" fmla="*/ 37 w 570"/>
                <a:gd name="T7" fmla="*/ 0 h 66"/>
                <a:gd name="T8" fmla="*/ 533 w 570"/>
                <a:gd name="T9" fmla="*/ 1 h 66"/>
                <a:gd name="T10" fmla="*/ 570 w 570"/>
                <a:gd name="T11" fmla="*/ 34 h 66"/>
                <a:gd name="T12" fmla="*/ 533 w 570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0" h="66">
                  <a:moveTo>
                    <a:pt x="533" y="66"/>
                  </a:moveTo>
                  <a:cubicBezTo>
                    <a:pt x="37" y="65"/>
                    <a:pt x="37" y="65"/>
                    <a:pt x="37" y="65"/>
                  </a:cubicBezTo>
                  <a:cubicBezTo>
                    <a:pt x="16" y="65"/>
                    <a:pt x="0" y="50"/>
                    <a:pt x="0" y="32"/>
                  </a:cubicBezTo>
                  <a:cubicBezTo>
                    <a:pt x="0" y="15"/>
                    <a:pt x="17" y="0"/>
                    <a:pt x="37" y="0"/>
                  </a:cubicBezTo>
                  <a:cubicBezTo>
                    <a:pt x="533" y="1"/>
                    <a:pt x="533" y="1"/>
                    <a:pt x="533" y="1"/>
                  </a:cubicBezTo>
                  <a:cubicBezTo>
                    <a:pt x="554" y="1"/>
                    <a:pt x="570" y="16"/>
                    <a:pt x="570" y="34"/>
                  </a:cubicBezTo>
                  <a:cubicBezTo>
                    <a:pt x="570" y="52"/>
                    <a:pt x="553" y="66"/>
                    <a:pt x="533" y="66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91718580-757B-40D5-A591-B8A94839184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" y="3375"/>
              <a:ext cx="1240" cy="517"/>
            </a:xfrm>
            <a:custGeom>
              <a:avLst/>
              <a:gdLst>
                <a:gd name="T0" fmla="*/ 488 w 522"/>
                <a:gd name="T1" fmla="*/ 1 h 218"/>
                <a:gd name="T2" fmla="*/ 34 w 522"/>
                <a:gd name="T3" fmla="*/ 0 h 218"/>
                <a:gd name="T4" fmla="*/ 0 w 522"/>
                <a:gd name="T5" fmla="*/ 34 h 218"/>
                <a:gd name="T6" fmla="*/ 34 w 522"/>
                <a:gd name="T7" fmla="*/ 68 h 218"/>
                <a:gd name="T8" fmla="*/ 84 w 522"/>
                <a:gd name="T9" fmla="*/ 68 h 218"/>
                <a:gd name="T10" fmla="*/ 149 w 522"/>
                <a:gd name="T11" fmla="*/ 194 h 218"/>
                <a:gd name="T12" fmla="*/ 188 w 522"/>
                <a:gd name="T13" fmla="*/ 218 h 218"/>
                <a:gd name="T14" fmla="*/ 350 w 522"/>
                <a:gd name="T15" fmla="*/ 218 h 218"/>
                <a:gd name="T16" fmla="*/ 389 w 522"/>
                <a:gd name="T17" fmla="*/ 194 h 218"/>
                <a:gd name="T18" fmla="*/ 454 w 522"/>
                <a:gd name="T19" fmla="*/ 69 h 218"/>
                <a:gd name="T20" fmla="*/ 488 w 522"/>
                <a:gd name="T21" fmla="*/ 69 h 218"/>
                <a:gd name="T22" fmla="*/ 522 w 522"/>
                <a:gd name="T23" fmla="*/ 35 h 218"/>
                <a:gd name="T24" fmla="*/ 488 w 522"/>
                <a:gd name="T25" fmla="*/ 1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2" h="218">
                  <a:moveTo>
                    <a:pt x="488" y="1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5"/>
                    <a:pt x="0" y="34"/>
                  </a:cubicBezTo>
                  <a:cubicBezTo>
                    <a:pt x="0" y="53"/>
                    <a:pt x="15" y="68"/>
                    <a:pt x="34" y="68"/>
                  </a:cubicBezTo>
                  <a:cubicBezTo>
                    <a:pt x="84" y="68"/>
                    <a:pt x="84" y="68"/>
                    <a:pt x="84" y="68"/>
                  </a:cubicBezTo>
                  <a:cubicBezTo>
                    <a:pt x="149" y="194"/>
                    <a:pt x="149" y="194"/>
                    <a:pt x="149" y="194"/>
                  </a:cubicBezTo>
                  <a:cubicBezTo>
                    <a:pt x="157" y="208"/>
                    <a:pt x="172" y="217"/>
                    <a:pt x="188" y="218"/>
                  </a:cubicBezTo>
                  <a:cubicBezTo>
                    <a:pt x="350" y="218"/>
                    <a:pt x="350" y="218"/>
                    <a:pt x="350" y="218"/>
                  </a:cubicBezTo>
                  <a:cubicBezTo>
                    <a:pt x="367" y="218"/>
                    <a:pt x="382" y="209"/>
                    <a:pt x="389" y="194"/>
                  </a:cubicBezTo>
                  <a:cubicBezTo>
                    <a:pt x="454" y="69"/>
                    <a:pt x="454" y="69"/>
                    <a:pt x="454" y="69"/>
                  </a:cubicBezTo>
                  <a:cubicBezTo>
                    <a:pt x="488" y="69"/>
                    <a:pt x="488" y="69"/>
                    <a:pt x="488" y="69"/>
                  </a:cubicBezTo>
                  <a:cubicBezTo>
                    <a:pt x="507" y="69"/>
                    <a:pt x="522" y="54"/>
                    <a:pt x="522" y="35"/>
                  </a:cubicBezTo>
                  <a:cubicBezTo>
                    <a:pt x="522" y="16"/>
                    <a:pt x="507" y="1"/>
                    <a:pt x="488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2">
              <a:extLst>
                <a:ext uri="{FF2B5EF4-FFF2-40B4-BE49-F238E27FC236}">
                  <a16:creationId xmlns:a16="http://schemas.microsoft.com/office/drawing/2014/main" id="{070977EF-F8E6-4AE9-B65E-228BAEB56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" y="155"/>
              <a:ext cx="2444" cy="2802"/>
            </a:xfrm>
            <a:custGeom>
              <a:avLst/>
              <a:gdLst>
                <a:gd name="T0" fmla="*/ 921 w 1028"/>
                <a:gd name="T1" fmla="*/ 828 h 1180"/>
                <a:gd name="T2" fmla="*/ 906 w 1028"/>
                <a:gd name="T3" fmla="*/ 850 h 1180"/>
                <a:gd name="T4" fmla="*/ 889 w 1028"/>
                <a:gd name="T5" fmla="*/ 876 h 1180"/>
                <a:gd name="T6" fmla="*/ 868 w 1028"/>
                <a:gd name="T7" fmla="*/ 914 h 1180"/>
                <a:gd name="T8" fmla="*/ 859 w 1028"/>
                <a:gd name="T9" fmla="*/ 930 h 1180"/>
                <a:gd name="T10" fmla="*/ 844 w 1028"/>
                <a:gd name="T11" fmla="*/ 962 h 1180"/>
                <a:gd name="T12" fmla="*/ 821 w 1028"/>
                <a:gd name="T13" fmla="*/ 1023 h 1180"/>
                <a:gd name="T14" fmla="*/ 795 w 1028"/>
                <a:gd name="T15" fmla="*/ 1179 h 1180"/>
                <a:gd name="T16" fmla="*/ 794 w 1028"/>
                <a:gd name="T17" fmla="*/ 1180 h 1180"/>
                <a:gd name="T18" fmla="*/ 264 w 1028"/>
                <a:gd name="T19" fmla="*/ 1180 h 1180"/>
                <a:gd name="T20" fmla="*/ 216 w 1028"/>
                <a:gd name="T21" fmla="*/ 1000 h 1180"/>
                <a:gd name="T22" fmla="*/ 140 w 1028"/>
                <a:gd name="T23" fmla="*/ 872 h 1180"/>
                <a:gd name="T24" fmla="*/ 107 w 1028"/>
                <a:gd name="T25" fmla="*/ 830 h 1180"/>
                <a:gd name="T26" fmla="*/ 109 w 1028"/>
                <a:gd name="T27" fmla="*/ 830 h 1180"/>
                <a:gd name="T28" fmla="*/ 9 w 1028"/>
                <a:gd name="T29" fmla="*/ 614 h 1180"/>
                <a:gd name="T30" fmla="*/ 3 w 1028"/>
                <a:gd name="T31" fmla="*/ 568 h 1180"/>
                <a:gd name="T32" fmla="*/ 1 w 1028"/>
                <a:gd name="T33" fmla="*/ 552 h 1180"/>
                <a:gd name="T34" fmla="*/ 0 w 1028"/>
                <a:gd name="T35" fmla="*/ 520 h 1180"/>
                <a:gd name="T36" fmla="*/ 1 w 1028"/>
                <a:gd name="T37" fmla="*/ 489 h 1180"/>
                <a:gd name="T38" fmla="*/ 240 w 1028"/>
                <a:gd name="T39" fmla="*/ 82 h 1180"/>
                <a:gd name="T40" fmla="*/ 398 w 1028"/>
                <a:gd name="T41" fmla="*/ 16 h 1180"/>
                <a:gd name="T42" fmla="*/ 640 w 1028"/>
                <a:gd name="T43" fmla="*/ 18 h 1180"/>
                <a:gd name="T44" fmla="*/ 780 w 1028"/>
                <a:gd name="T45" fmla="*/ 77 h 1180"/>
                <a:gd name="T46" fmla="*/ 933 w 1028"/>
                <a:gd name="T47" fmla="*/ 220 h 1180"/>
                <a:gd name="T48" fmla="*/ 1003 w 1028"/>
                <a:gd name="T49" fmla="*/ 360 h 1180"/>
                <a:gd name="T50" fmla="*/ 1018 w 1028"/>
                <a:gd name="T51" fmla="*/ 416 h 1180"/>
                <a:gd name="T52" fmla="*/ 1022 w 1028"/>
                <a:gd name="T53" fmla="*/ 443 h 1180"/>
                <a:gd name="T54" fmla="*/ 991 w 1028"/>
                <a:gd name="T55" fmla="*/ 707 h 1180"/>
                <a:gd name="T56" fmla="*/ 942 w 1028"/>
                <a:gd name="T57" fmla="*/ 799 h 1180"/>
                <a:gd name="T58" fmla="*/ 926 w 1028"/>
                <a:gd name="T59" fmla="*/ 821 h 1180"/>
                <a:gd name="T60" fmla="*/ 926 w 1028"/>
                <a:gd name="T61" fmla="*/ 821 h 1180"/>
                <a:gd name="T62" fmla="*/ 942 w 1028"/>
                <a:gd name="T63" fmla="*/ 799 h 1180"/>
                <a:gd name="T64" fmla="*/ 990 w 1028"/>
                <a:gd name="T65" fmla="*/ 706 h 1180"/>
                <a:gd name="T66" fmla="*/ 1021 w 1028"/>
                <a:gd name="T67" fmla="*/ 443 h 1180"/>
                <a:gd name="T68" fmla="*/ 1016 w 1028"/>
                <a:gd name="T69" fmla="*/ 416 h 1180"/>
                <a:gd name="T70" fmla="*/ 1002 w 1028"/>
                <a:gd name="T71" fmla="*/ 360 h 1180"/>
                <a:gd name="T72" fmla="*/ 932 w 1028"/>
                <a:gd name="T73" fmla="*/ 221 h 1180"/>
                <a:gd name="T74" fmla="*/ 779 w 1028"/>
                <a:gd name="T75" fmla="*/ 78 h 1180"/>
                <a:gd name="T76" fmla="*/ 639 w 1028"/>
                <a:gd name="T77" fmla="*/ 20 h 1180"/>
                <a:gd name="T78" fmla="*/ 398 w 1028"/>
                <a:gd name="T79" fmla="*/ 18 h 1180"/>
                <a:gd name="T80" fmla="*/ 241 w 1028"/>
                <a:gd name="T81" fmla="*/ 83 h 1180"/>
                <a:gd name="T82" fmla="*/ 3 w 1028"/>
                <a:gd name="T83" fmla="*/ 489 h 1180"/>
                <a:gd name="T84" fmla="*/ 2 w 1028"/>
                <a:gd name="T85" fmla="*/ 520 h 1180"/>
                <a:gd name="T86" fmla="*/ 3 w 1028"/>
                <a:gd name="T87" fmla="*/ 552 h 1180"/>
                <a:gd name="T88" fmla="*/ 5 w 1028"/>
                <a:gd name="T89" fmla="*/ 567 h 1180"/>
                <a:gd name="T90" fmla="*/ 11 w 1028"/>
                <a:gd name="T91" fmla="*/ 614 h 1180"/>
                <a:gd name="T92" fmla="*/ 111 w 1028"/>
                <a:gd name="T93" fmla="*/ 832 h 1180"/>
                <a:gd name="T94" fmla="*/ 109 w 1028"/>
                <a:gd name="T95" fmla="*/ 832 h 1180"/>
                <a:gd name="T96" fmla="*/ 142 w 1028"/>
                <a:gd name="T97" fmla="*/ 871 h 1180"/>
                <a:gd name="T98" fmla="*/ 218 w 1028"/>
                <a:gd name="T99" fmla="*/ 999 h 1180"/>
                <a:gd name="T100" fmla="*/ 265 w 1028"/>
                <a:gd name="T101" fmla="*/ 1178 h 1180"/>
                <a:gd name="T102" fmla="*/ 793 w 1028"/>
                <a:gd name="T103" fmla="*/ 1179 h 1180"/>
                <a:gd name="T104" fmla="*/ 820 w 1028"/>
                <a:gd name="T105" fmla="*/ 1022 h 1180"/>
                <a:gd name="T106" fmla="*/ 843 w 1028"/>
                <a:gd name="T107" fmla="*/ 962 h 1180"/>
                <a:gd name="T108" fmla="*/ 858 w 1028"/>
                <a:gd name="T109" fmla="*/ 930 h 1180"/>
                <a:gd name="T110" fmla="*/ 867 w 1028"/>
                <a:gd name="T111" fmla="*/ 913 h 1180"/>
                <a:gd name="T112" fmla="*/ 889 w 1028"/>
                <a:gd name="T113" fmla="*/ 876 h 1180"/>
                <a:gd name="T114" fmla="*/ 906 w 1028"/>
                <a:gd name="T115" fmla="*/ 850 h 1180"/>
                <a:gd name="T116" fmla="*/ 921 w 1028"/>
                <a:gd name="T117" fmla="*/ 828 h 1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28" h="1180">
                  <a:moveTo>
                    <a:pt x="921" y="828"/>
                  </a:moveTo>
                  <a:cubicBezTo>
                    <a:pt x="921" y="828"/>
                    <a:pt x="921" y="828"/>
                    <a:pt x="921" y="828"/>
                  </a:cubicBezTo>
                  <a:cubicBezTo>
                    <a:pt x="921" y="828"/>
                    <a:pt x="920" y="830"/>
                    <a:pt x="917" y="834"/>
                  </a:cubicBezTo>
                  <a:cubicBezTo>
                    <a:pt x="915" y="838"/>
                    <a:pt x="911" y="843"/>
                    <a:pt x="906" y="850"/>
                  </a:cubicBezTo>
                  <a:cubicBezTo>
                    <a:pt x="904" y="853"/>
                    <a:pt x="901" y="857"/>
                    <a:pt x="898" y="862"/>
                  </a:cubicBezTo>
                  <a:cubicBezTo>
                    <a:pt x="896" y="866"/>
                    <a:pt x="893" y="871"/>
                    <a:pt x="889" y="876"/>
                  </a:cubicBezTo>
                  <a:cubicBezTo>
                    <a:pt x="886" y="882"/>
                    <a:pt x="883" y="887"/>
                    <a:pt x="879" y="893"/>
                  </a:cubicBezTo>
                  <a:cubicBezTo>
                    <a:pt x="875" y="900"/>
                    <a:pt x="872" y="906"/>
                    <a:pt x="868" y="914"/>
                  </a:cubicBezTo>
                  <a:cubicBezTo>
                    <a:pt x="866" y="917"/>
                    <a:pt x="864" y="921"/>
                    <a:pt x="862" y="925"/>
                  </a:cubicBezTo>
                  <a:cubicBezTo>
                    <a:pt x="861" y="926"/>
                    <a:pt x="860" y="928"/>
                    <a:pt x="859" y="930"/>
                  </a:cubicBezTo>
                  <a:cubicBezTo>
                    <a:pt x="858" y="932"/>
                    <a:pt x="857" y="934"/>
                    <a:pt x="856" y="936"/>
                  </a:cubicBezTo>
                  <a:cubicBezTo>
                    <a:pt x="852" y="945"/>
                    <a:pt x="848" y="953"/>
                    <a:pt x="844" y="962"/>
                  </a:cubicBezTo>
                  <a:cubicBezTo>
                    <a:pt x="840" y="971"/>
                    <a:pt x="837" y="981"/>
                    <a:pt x="832" y="991"/>
                  </a:cubicBezTo>
                  <a:cubicBezTo>
                    <a:pt x="829" y="1001"/>
                    <a:pt x="825" y="1012"/>
                    <a:pt x="821" y="1023"/>
                  </a:cubicBezTo>
                  <a:cubicBezTo>
                    <a:pt x="814" y="1045"/>
                    <a:pt x="808" y="1069"/>
                    <a:pt x="803" y="1095"/>
                  </a:cubicBezTo>
                  <a:cubicBezTo>
                    <a:pt x="798" y="1121"/>
                    <a:pt x="794" y="1149"/>
                    <a:pt x="795" y="1179"/>
                  </a:cubicBezTo>
                  <a:cubicBezTo>
                    <a:pt x="795" y="1180"/>
                    <a:pt x="795" y="1180"/>
                    <a:pt x="795" y="1180"/>
                  </a:cubicBezTo>
                  <a:cubicBezTo>
                    <a:pt x="794" y="1180"/>
                    <a:pt x="794" y="1180"/>
                    <a:pt x="794" y="1180"/>
                  </a:cubicBezTo>
                  <a:cubicBezTo>
                    <a:pt x="650" y="1180"/>
                    <a:pt x="470" y="1180"/>
                    <a:pt x="265" y="1180"/>
                  </a:cubicBezTo>
                  <a:cubicBezTo>
                    <a:pt x="264" y="1180"/>
                    <a:pt x="264" y="1180"/>
                    <a:pt x="264" y="1180"/>
                  </a:cubicBezTo>
                  <a:cubicBezTo>
                    <a:pt x="264" y="1179"/>
                    <a:pt x="264" y="1179"/>
                    <a:pt x="264" y="1179"/>
                  </a:cubicBezTo>
                  <a:cubicBezTo>
                    <a:pt x="259" y="1120"/>
                    <a:pt x="243" y="1059"/>
                    <a:pt x="216" y="1000"/>
                  </a:cubicBezTo>
                  <a:cubicBezTo>
                    <a:pt x="203" y="971"/>
                    <a:pt x="187" y="942"/>
                    <a:pt x="169" y="913"/>
                  </a:cubicBezTo>
                  <a:cubicBezTo>
                    <a:pt x="160" y="899"/>
                    <a:pt x="150" y="885"/>
                    <a:pt x="140" y="872"/>
                  </a:cubicBezTo>
                  <a:cubicBezTo>
                    <a:pt x="130" y="858"/>
                    <a:pt x="119" y="845"/>
                    <a:pt x="108" y="832"/>
                  </a:cubicBezTo>
                  <a:cubicBezTo>
                    <a:pt x="107" y="830"/>
                    <a:pt x="107" y="830"/>
                    <a:pt x="107" y="830"/>
                  </a:cubicBezTo>
                  <a:cubicBezTo>
                    <a:pt x="109" y="830"/>
                    <a:pt x="109" y="830"/>
                    <a:pt x="109" y="830"/>
                  </a:cubicBezTo>
                  <a:cubicBezTo>
                    <a:pt x="109" y="830"/>
                    <a:pt x="109" y="830"/>
                    <a:pt x="109" y="830"/>
                  </a:cubicBezTo>
                  <a:cubicBezTo>
                    <a:pt x="108" y="832"/>
                    <a:pt x="108" y="832"/>
                    <a:pt x="108" y="832"/>
                  </a:cubicBezTo>
                  <a:cubicBezTo>
                    <a:pt x="60" y="771"/>
                    <a:pt x="25" y="696"/>
                    <a:pt x="9" y="614"/>
                  </a:cubicBezTo>
                  <a:cubicBezTo>
                    <a:pt x="7" y="604"/>
                    <a:pt x="6" y="594"/>
                    <a:pt x="4" y="583"/>
                  </a:cubicBezTo>
                  <a:cubicBezTo>
                    <a:pt x="4" y="578"/>
                    <a:pt x="3" y="573"/>
                    <a:pt x="3" y="568"/>
                  </a:cubicBezTo>
                  <a:cubicBezTo>
                    <a:pt x="2" y="560"/>
                    <a:pt x="2" y="560"/>
                    <a:pt x="2" y="560"/>
                  </a:cubicBezTo>
                  <a:cubicBezTo>
                    <a:pt x="1" y="552"/>
                    <a:pt x="1" y="552"/>
                    <a:pt x="1" y="552"/>
                  </a:cubicBezTo>
                  <a:cubicBezTo>
                    <a:pt x="1" y="547"/>
                    <a:pt x="0" y="542"/>
                    <a:pt x="0" y="536"/>
                  </a:cubicBezTo>
                  <a:cubicBezTo>
                    <a:pt x="0" y="531"/>
                    <a:pt x="0" y="526"/>
                    <a:pt x="0" y="520"/>
                  </a:cubicBezTo>
                  <a:cubicBezTo>
                    <a:pt x="0" y="515"/>
                    <a:pt x="0" y="510"/>
                    <a:pt x="0" y="505"/>
                  </a:cubicBezTo>
                  <a:cubicBezTo>
                    <a:pt x="0" y="499"/>
                    <a:pt x="0" y="494"/>
                    <a:pt x="1" y="489"/>
                  </a:cubicBezTo>
                  <a:cubicBezTo>
                    <a:pt x="3" y="446"/>
                    <a:pt x="11" y="404"/>
                    <a:pt x="23" y="362"/>
                  </a:cubicBezTo>
                  <a:cubicBezTo>
                    <a:pt x="61" y="244"/>
                    <a:pt x="141" y="144"/>
                    <a:pt x="240" y="82"/>
                  </a:cubicBezTo>
                  <a:cubicBezTo>
                    <a:pt x="265" y="66"/>
                    <a:pt x="290" y="53"/>
                    <a:pt x="317" y="42"/>
                  </a:cubicBezTo>
                  <a:cubicBezTo>
                    <a:pt x="343" y="31"/>
                    <a:pt x="370" y="22"/>
                    <a:pt x="398" y="16"/>
                  </a:cubicBezTo>
                  <a:cubicBezTo>
                    <a:pt x="452" y="3"/>
                    <a:pt x="508" y="0"/>
                    <a:pt x="562" y="5"/>
                  </a:cubicBezTo>
                  <a:cubicBezTo>
                    <a:pt x="588" y="7"/>
                    <a:pt x="614" y="12"/>
                    <a:pt x="640" y="18"/>
                  </a:cubicBezTo>
                  <a:cubicBezTo>
                    <a:pt x="665" y="25"/>
                    <a:pt x="690" y="33"/>
                    <a:pt x="713" y="43"/>
                  </a:cubicBezTo>
                  <a:cubicBezTo>
                    <a:pt x="736" y="53"/>
                    <a:pt x="759" y="64"/>
                    <a:pt x="780" y="77"/>
                  </a:cubicBezTo>
                  <a:cubicBezTo>
                    <a:pt x="801" y="90"/>
                    <a:pt x="821" y="104"/>
                    <a:pt x="839" y="119"/>
                  </a:cubicBezTo>
                  <a:cubicBezTo>
                    <a:pt x="876" y="149"/>
                    <a:pt x="908" y="183"/>
                    <a:pt x="933" y="220"/>
                  </a:cubicBezTo>
                  <a:cubicBezTo>
                    <a:pt x="959" y="256"/>
                    <a:pt x="978" y="294"/>
                    <a:pt x="993" y="331"/>
                  </a:cubicBezTo>
                  <a:cubicBezTo>
                    <a:pt x="997" y="341"/>
                    <a:pt x="1000" y="350"/>
                    <a:pt x="1003" y="360"/>
                  </a:cubicBezTo>
                  <a:cubicBezTo>
                    <a:pt x="1006" y="369"/>
                    <a:pt x="1009" y="379"/>
                    <a:pt x="1011" y="388"/>
                  </a:cubicBezTo>
                  <a:cubicBezTo>
                    <a:pt x="1013" y="397"/>
                    <a:pt x="1016" y="407"/>
                    <a:pt x="1018" y="416"/>
                  </a:cubicBezTo>
                  <a:cubicBezTo>
                    <a:pt x="1018" y="420"/>
                    <a:pt x="1019" y="425"/>
                    <a:pt x="1020" y="430"/>
                  </a:cubicBezTo>
                  <a:cubicBezTo>
                    <a:pt x="1021" y="434"/>
                    <a:pt x="1022" y="439"/>
                    <a:pt x="1022" y="443"/>
                  </a:cubicBezTo>
                  <a:cubicBezTo>
                    <a:pt x="1027" y="479"/>
                    <a:pt x="1028" y="514"/>
                    <a:pt x="1026" y="546"/>
                  </a:cubicBezTo>
                  <a:cubicBezTo>
                    <a:pt x="1023" y="611"/>
                    <a:pt x="1007" y="665"/>
                    <a:pt x="991" y="707"/>
                  </a:cubicBezTo>
                  <a:cubicBezTo>
                    <a:pt x="982" y="728"/>
                    <a:pt x="973" y="746"/>
                    <a:pt x="965" y="761"/>
                  </a:cubicBezTo>
                  <a:cubicBezTo>
                    <a:pt x="957" y="776"/>
                    <a:pt x="949" y="789"/>
                    <a:pt x="942" y="799"/>
                  </a:cubicBezTo>
                  <a:cubicBezTo>
                    <a:pt x="939" y="804"/>
                    <a:pt x="936" y="808"/>
                    <a:pt x="933" y="812"/>
                  </a:cubicBezTo>
                  <a:cubicBezTo>
                    <a:pt x="931" y="816"/>
                    <a:pt x="928" y="819"/>
                    <a:pt x="926" y="821"/>
                  </a:cubicBezTo>
                  <a:cubicBezTo>
                    <a:pt x="923" y="826"/>
                    <a:pt x="921" y="828"/>
                    <a:pt x="921" y="828"/>
                  </a:cubicBezTo>
                  <a:cubicBezTo>
                    <a:pt x="921" y="828"/>
                    <a:pt x="923" y="826"/>
                    <a:pt x="926" y="821"/>
                  </a:cubicBezTo>
                  <a:cubicBezTo>
                    <a:pt x="928" y="819"/>
                    <a:pt x="930" y="815"/>
                    <a:pt x="933" y="812"/>
                  </a:cubicBezTo>
                  <a:cubicBezTo>
                    <a:pt x="936" y="808"/>
                    <a:pt x="938" y="804"/>
                    <a:pt x="942" y="799"/>
                  </a:cubicBezTo>
                  <a:cubicBezTo>
                    <a:pt x="948" y="789"/>
                    <a:pt x="956" y="776"/>
                    <a:pt x="964" y="761"/>
                  </a:cubicBezTo>
                  <a:cubicBezTo>
                    <a:pt x="973" y="745"/>
                    <a:pt x="982" y="728"/>
                    <a:pt x="990" y="706"/>
                  </a:cubicBezTo>
                  <a:cubicBezTo>
                    <a:pt x="1007" y="664"/>
                    <a:pt x="1022" y="610"/>
                    <a:pt x="1025" y="546"/>
                  </a:cubicBezTo>
                  <a:cubicBezTo>
                    <a:pt x="1027" y="514"/>
                    <a:pt x="1026" y="479"/>
                    <a:pt x="1021" y="443"/>
                  </a:cubicBezTo>
                  <a:cubicBezTo>
                    <a:pt x="1020" y="439"/>
                    <a:pt x="1019" y="434"/>
                    <a:pt x="1019" y="430"/>
                  </a:cubicBezTo>
                  <a:cubicBezTo>
                    <a:pt x="1018" y="425"/>
                    <a:pt x="1017" y="421"/>
                    <a:pt x="1016" y="416"/>
                  </a:cubicBezTo>
                  <a:cubicBezTo>
                    <a:pt x="1014" y="407"/>
                    <a:pt x="1012" y="398"/>
                    <a:pt x="1010" y="388"/>
                  </a:cubicBezTo>
                  <a:cubicBezTo>
                    <a:pt x="1007" y="379"/>
                    <a:pt x="1005" y="370"/>
                    <a:pt x="1002" y="360"/>
                  </a:cubicBezTo>
                  <a:cubicBezTo>
                    <a:pt x="998" y="351"/>
                    <a:pt x="996" y="341"/>
                    <a:pt x="992" y="332"/>
                  </a:cubicBezTo>
                  <a:cubicBezTo>
                    <a:pt x="977" y="294"/>
                    <a:pt x="957" y="256"/>
                    <a:pt x="932" y="221"/>
                  </a:cubicBezTo>
                  <a:cubicBezTo>
                    <a:pt x="906" y="184"/>
                    <a:pt x="875" y="150"/>
                    <a:pt x="838" y="120"/>
                  </a:cubicBezTo>
                  <a:cubicBezTo>
                    <a:pt x="820" y="105"/>
                    <a:pt x="800" y="91"/>
                    <a:pt x="779" y="78"/>
                  </a:cubicBezTo>
                  <a:cubicBezTo>
                    <a:pt x="758" y="66"/>
                    <a:pt x="736" y="54"/>
                    <a:pt x="712" y="44"/>
                  </a:cubicBezTo>
                  <a:cubicBezTo>
                    <a:pt x="689" y="35"/>
                    <a:pt x="665" y="26"/>
                    <a:pt x="639" y="20"/>
                  </a:cubicBezTo>
                  <a:cubicBezTo>
                    <a:pt x="614" y="14"/>
                    <a:pt x="588" y="9"/>
                    <a:pt x="561" y="7"/>
                  </a:cubicBezTo>
                  <a:cubicBezTo>
                    <a:pt x="508" y="2"/>
                    <a:pt x="453" y="5"/>
                    <a:pt x="398" y="18"/>
                  </a:cubicBezTo>
                  <a:cubicBezTo>
                    <a:pt x="371" y="24"/>
                    <a:pt x="344" y="32"/>
                    <a:pt x="318" y="44"/>
                  </a:cubicBezTo>
                  <a:cubicBezTo>
                    <a:pt x="291" y="55"/>
                    <a:pt x="266" y="68"/>
                    <a:pt x="241" y="83"/>
                  </a:cubicBezTo>
                  <a:cubicBezTo>
                    <a:pt x="142" y="145"/>
                    <a:pt x="62" y="245"/>
                    <a:pt x="25" y="363"/>
                  </a:cubicBezTo>
                  <a:cubicBezTo>
                    <a:pt x="13" y="404"/>
                    <a:pt x="5" y="447"/>
                    <a:pt x="3" y="489"/>
                  </a:cubicBezTo>
                  <a:cubicBezTo>
                    <a:pt x="2" y="494"/>
                    <a:pt x="2" y="499"/>
                    <a:pt x="2" y="505"/>
                  </a:cubicBezTo>
                  <a:cubicBezTo>
                    <a:pt x="2" y="510"/>
                    <a:pt x="2" y="515"/>
                    <a:pt x="2" y="520"/>
                  </a:cubicBezTo>
                  <a:cubicBezTo>
                    <a:pt x="2" y="526"/>
                    <a:pt x="2" y="531"/>
                    <a:pt x="2" y="536"/>
                  </a:cubicBezTo>
                  <a:cubicBezTo>
                    <a:pt x="3" y="541"/>
                    <a:pt x="3" y="547"/>
                    <a:pt x="3" y="552"/>
                  </a:cubicBezTo>
                  <a:cubicBezTo>
                    <a:pt x="4" y="560"/>
                    <a:pt x="4" y="560"/>
                    <a:pt x="4" y="560"/>
                  </a:cubicBezTo>
                  <a:cubicBezTo>
                    <a:pt x="5" y="567"/>
                    <a:pt x="5" y="567"/>
                    <a:pt x="5" y="567"/>
                  </a:cubicBezTo>
                  <a:cubicBezTo>
                    <a:pt x="5" y="573"/>
                    <a:pt x="6" y="578"/>
                    <a:pt x="6" y="583"/>
                  </a:cubicBezTo>
                  <a:cubicBezTo>
                    <a:pt x="8" y="593"/>
                    <a:pt x="9" y="604"/>
                    <a:pt x="11" y="614"/>
                  </a:cubicBezTo>
                  <a:cubicBezTo>
                    <a:pt x="27" y="695"/>
                    <a:pt x="62" y="770"/>
                    <a:pt x="110" y="831"/>
                  </a:cubicBezTo>
                  <a:cubicBezTo>
                    <a:pt x="111" y="832"/>
                    <a:pt x="111" y="832"/>
                    <a:pt x="111" y="832"/>
                  </a:cubicBezTo>
                  <a:cubicBezTo>
                    <a:pt x="109" y="832"/>
                    <a:pt x="109" y="832"/>
                    <a:pt x="109" y="832"/>
                  </a:cubicBezTo>
                  <a:cubicBezTo>
                    <a:pt x="109" y="832"/>
                    <a:pt x="109" y="832"/>
                    <a:pt x="109" y="832"/>
                  </a:cubicBezTo>
                  <a:cubicBezTo>
                    <a:pt x="110" y="831"/>
                    <a:pt x="110" y="831"/>
                    <a:pt x="110" y="831"/>
                  </a:cubicBezTo>
                  <a:cubicBezTo>
                    <a:pt x="121" y="844"/>
                    <a:pt x="132" y="857"/>
                    <a:pt x="142" y="871"/>
                  </a:cubicBezTo>
                  <a:cubicBezTo>
                    <a:pt x="152" y="884"/>
                    <a:pt x="161" y="898"/>
                    <a:pt x="170" y="912"/>
                  </a:cubicBezTo>
                  <a:cubicBezTo>
                    <a:pt x="188" y="941"/>
                    <a:pt x="204" y="970"/>
                    <a:pt x="218" y="999"/>
                  </a:cubicBezTo>
                  <a:cubicBezTo>
                    <a:pt x="244" y="1058"/>
                    <a:pt x="261" y="1120"/>
                    <a:pt x="265" y="1179"/>
                  </a:cubicBezTo>
                  <a:cubicBezTo>
                    <a:pt x="265" y="1178"/>
                    <a:pt x="265" y="1178"/>
                    <a:pt x="265" y="1178"/>
                  </a:cubicBezTo>
                  <a:cubicBezTo>
                    <a:pt x="470" y="1178"/>
                    <a:pt x="650" y="1178"/>
                    <a:pt x="794" y="1178"/>
                  </a:cubicBezTo>
                  <a:cubicBezTo>
                    <a:pt x="793" y="1179"/>
                    <a:pt x="793" y="1179"/>
                    <a:pt x="793" y="1179"/>
                  </a:cubicBezTo>
                  <a:cubicBezTo>
                    <a:pt x="793" y="1149"/>
                    <a:pt x="797" y="1121"/>
                    <a:pt x="802" y="1095"/>
                  </a:cubicBezTo>
                  <a:cubicBezTo>
                    <a:pt x="806" y="1069"/>
                    <a:pt x="813" y="1045"/>
                    <a:pt x="820" y="1022"/>
                  </a:cubicBezTo>
                  <a:cubicBezTo>
                    <a:pt x="824" y="1011"/>
                    <a:pt x="828" y="1001"/>
                    <a:pt x="832" y="991"/>
                  </a:cubicBezTo>
                  <a:cubicBezTo>
                    <a:pt x="836" y="981"/>
                    <a:pt x="840" y="971"/>
                    <a:pt x="843" y="962"/>
                  </a:cubicBezTo>
                  <a:cubicBezTo>
                    <a:pt x="848" y="953"/>
                    <a:pt x="852" y="944"/>
                    <a:pt x="856" y="936"/>
                  </a:cubicBezTo>
                  <a:cubicBezTo>
                    <a:pt x="857" y="934"/>
                    <a:pt x="858" y="932"/>
                    <a:pt x="858" y="930"/>
                  </a:cubicBezTo>
                  <a:cubicBezTo>
                    <a:pt x="859" y="928"/>
                    <a:pt x="861" y="926"/>
                    <a:pt x="862" y="924"/>
                  </a:cubicBezTo>
                  <a:cubicBezTo>
                    <a:pt x="864" y="920"/>
                    <a:pt x="866" y="917"/>
                    <a:pt x="867" y="913"/>
                  </a:cubicBezTo>
                  <a:cubicBezTo>
                    <a:pt x="871" y="906"/>
                    <a:pt x="875" y="899"/>
                    <a:pt x="879" y="893"/>
                  </a:cubicBezTo>
                  <a:cubicBezTo>
                    <a:pt x="882" y="887"/>
                    <a:pt x="886" y="881"/>
                    <a:pt x="889" y="876"/>
                  </a:cubicBezTo>
                  <a:cubicBezTo>
                    <a:pt x="892" y="871"/>
                    <a:pt x="895" y="866"/>
                    <a:pt x="898" y="861"/>
                  </a:cubicBezTo>
                  <a:cubicBezTo>
                    <a:pt x="901" y="857"/>
                    <a:pt x="904" y="853"/>
                    <a:pt x="906" y="850"/>
                  </a:cubicBezTo>
                  <a:cubicBezTo>
                    <a:pt x="911" y="843"/>
                    <a:pt x="915" y="837"/>
                    <a:pt x="917" y="834"/>
                  </a:cubicBezTo>
                  <a:cubicBezTo>
                    <a:pt x="920" y="830"/>
                    <a:pt x="921" y="828"/>
                    <a:pt x="921" y="828"/>
                  </a:cubicBezTo>
                  <a:cubicBezTo>
                    <a:pt x="921" y="828"/>
                    <a:pt x="921" y="828"/>
                    <a:pt x="921" y="828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3">
              <a:extLst>
                <a:ext uri="{FF2B5EF4-FFF2-40B4-BE49-F238E27FC236}">
                  <a16:creationId xmlns:a16="http://schemas.microsoft.com/office/drawing/2014/main" id="{9B619AD4-723A-4A63-8BEA-F855FDFA6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" y="720"/>
              <a:ext cx="214" cy="1068"/>
            </a:xfrm>
            <a:custGeom>
              <a:avLst/>
              <a:gdLst>
                <a:gd name="T0" fmla="*/ 28 w 90"/>
                <a:gd name="T1" fmla="*/ 450 h 450"/>
                <a:gd name="T2" fmla="*/ 28 w 90"/>
                <a:gd name="T3" fmla="*/ 449 h 450"/>
                <a:gd name="T4" fmla="*/ 27 w 90"/>
                <a:gd name="T5" fmla="*/ 446 h 450"/>
                <a:gd name="T6" fmla="*/ 23 w 90"/>
                <a:gd name="T7" fmla="*/ 433 h 450"/>
                <a:gd name="T8" fmla="*/ 20 w 90"/>
                <a:gd name="T9" fmla="*/ 423 h 450"/>
                <a:gd name="T10" fmla="*/ 17 w 90"/>
                <a:gd name="T11" fmla="*/ 412 h 450"/>
                <a:gd name="T12" fmla="*/ 10 w 90"/>
                <a:gd name="T13" fmla="*/ 384 h 450"/>
                <a:gd name="T14" fmla="*/ 7 w 90"/>
                <a:gd name="T15" fmla="*/ 367 h 450"/>
                <a:gd name="T16" fmla="*/ 5 w 90"/>
                <a:gd name="T17" fmla="*/ 349 h 450"/>
                <a:gd name="T18" fmla="*/ 1 w 90"/>
                <a:gd name="T19" fmla="*/ 309 h 450"/>
                <a:gd name="T20" fmla="*/ 6 w 90"/>
                <a:gd name="T21" fmla="*/ 218 h 450"/>
                <a:gd name="T22" fmla="*/ 26 w 90"/>
                <a:gd name="T23" fmla="*/ 129 h 450"/>
                <a:gd name="T24" fmla="*/ 40 w 90"/>
                <a:gd name="T25" fmla="*/ 91 h 450"/>
                <a:gd name="T26" fmla="*/ 47 w 90"/>
                <a:gd name="T27" fmla="*/ 74 h 450"/>
                <a:gd name="T28" fmla="*/ 54 w 90"/>
                <a:gd name="T29" fmla="*/ 59 h 450"/>
                <a:gd name="T30" fmla="*/ 68 w 90"/>
                <a:gd name="T31" fmla="*/ 34 h 450"/>
                <a:gd name="T32" fmla="*/ 74 w 90"/>
                <a:gd name="T33" fmla="*/ 24 h 450"/>
                <a:gd name="T34" fmla="*/ 79 w 90"/>
                <a:gd name="T35" fmla="*/ 16 h 450"/>
                <a:gd name="T36" fmla="*/ 87 w 90"/>
                <a:gd name="T37" fmla="*/ 4 h 450"/>
                <a:gd name="T38" fmla="*/ 89 w 90"/>
                <a:gd name="T39" fmla="*/ 1 h 450"/>
                <a:gd name="T40" fmla="*/ 90 w 90"/>
                <a:gd name="T41" fmla="*/ 0 h 450"/>
                <a:gd name="T42" fmla="*/ 89 w 90"/>
                <a:gd name="T43" fmla="*/ 1 h 450"/>
                <a:gd name="T44" fmla="*/ 87 w 90"/>
                <a:gd name="T45" fmla="*/ 4 h 450"/>
                <a:gd name="T46" fmla="*/ 80 w 90"/>
                <a:gd name="T47" fmla="*/ 16 h 450"/>
                <a:gd name="T48" fmla="*/ 75 w 90"/>
                <a:gd name="T49" fmla="*/ 24 h 450"/>
                <a:gd name="T50" fmla="*/ 69 w 90"/>
                <a:gd name="T51" fmla="*/ 35 h 450"/>
                <a:gd name="T52" fmla="*/ 56 w 90"/>
                <a:gd name="T53" fmla="*/ 60 h 450"/>
                <a:gd name="T54" fmla="*/ 48 w 90"/>
                <a:gd name="T55" fmla="*/ 75 h 450"/>
                <a:gd name="T56" fmla="*/ 41 w 90"/>
                <a:gd name="T57" fmla="*/ 92 h 450"/>
                <a:gd name="T58" fmla="*/ 28 w 90"/>
                <a:gd name="T59" fmla="*/ 129 h 450"/>
                <a:gd name="T60" fmla="*/ 8 w 90"/>
                <a:gd name="T61" fmla="*/ 218 h 450"/>
                <a:gd name="T62" fmla="*/ 3 w 90"/>
                <a:gd name="T63" fmla="*/ 309 h 450"/>
                <a:gd name="T64" fmla="*/ 7 w 90"/>
                <a:gd name="T65" fmla="*/ 349 h 450"/>
                <a:gd name="T66" fmla="*/ 9 w 90"/>
                <a:gd name="T67" fmla="*/ 367 h 450"/>
                <a:gd name="T68" fmla="*/ 12 w 90"/>
                <a:gd name="T69" fmla="*/ 383 h 450"/>
                <a:gd name="T70" fmla="*/ 18 w 90"/>
                <a:gd name="T71" fmla="*/ 411 h 450"/>
                <a:gd name="T72" fmla="*/ 21 w 90"/>
                <a:gd name="T73" fmla="*/ 423 h 450"/>
                <a:gd name="T74" fmla="*/ 23 w 90"/>
                <a:gd name="T75" fmla="*/ 432 h 450"/>
                <a:gd name="T76" fmla="*/ 27 w 90"/>
                <a:gd name="T77" fmla="*/ 446 h 450"/>
                <a:gd name="T78" fmla="*/ 28 w 90"/>
                <a:gd name="T79" fmla="*/ 449 h 450"/>
                <a:gd name="T80" fmla="*/ 28 w 90"/>
                <a:gd name="T81" fmla="*/ 45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0" h="450">
                  <a:moveTo>
                    <a:pt x="28" y="450"/>
                  </a:moveTo>
                  <a:cubicBezTo>
                    <a:pt x="28" y="450"/>
                    <a:pt x="28" y="450"/>
                    <a:pt x="28" y="449"/>
                  </a:cubicBezTo>
                  <a:cubicBezTo>
                    <a:pt x="28" y="448"/>
                    <a:pt x="27" y="447"/>
                    <a:pt x="27" y="446"/>
                  </a:cubicBezTo>
                  <a:cubicBezTo>
                    <a:pt x="26" y="443"/>
                    <a:pt x="24" y="438"/>
                    <a:pt x="23" y="433"/>
                  </a:cubicBezTo>
                  <a:cubicBezTo>
                    <a:pt x="22" y="430"/>
                    <a:pt x="21" y="427"/>
                    <a:pt x="20" y="423"/>
                  </a:cubicBezTo>
                  <a:cubicBezTo>
                    <a:pt x="19" y="420"/>
                    <a:pt x="18" y="416"/>
                    <a:pt x="17" y="412"/>
                  </a:cubicBezTo>
                  <a:cubicBezTo>
                    <a:pt x="15" y="404"/>
                    <a:pt x="12" y="394"/>
                    <a:pt x="10" y="384"/>
                  </a:cubicBezTo>
                  <a:cubicBezTo>
                    <a:pt x="9" y="378"/>
                    <a:pt x="8" y="373"/>
                    <a:pt x="7" y="367"/>
                  </a:cubicBezTo>
                  <a:cubicBezTo>
                    <a:pt x="6" y="362"/>
                    <a:pt x="6" y="356"/>
                    <a:pt x="5" y="349"/>
                  </a:cubicBezTo>
                  <a:cubicBezTo>
                    <a:pt x="3" y="337"/>
                    <a:pt x="2" y="324"/>
                    <a:pt x="1" y="309"/>
                  </a:cubicBezTo>
                  <a:cubicBezTo>
                    <a:pt x="0" y="281"/>
                    <a:pt x="1" y="250"/>
                    <a:pt x="6" y="218"/>
                  </a:cubicBezTo>
                  <a:cubicBezTo>
                    <a:pt x="10" y="186"/>
                    <a:pt x="18" y="156"/>
                    <a:pt x="26" y="129"/>
                  </a:cubicBezTo>
                  <a:cubicBezTo>
                    <a:pt x="31" y="115"/>
                    <a:pt x="35" y="103"/>
                    <a:pt x="40" y="91"/>
                  </a:cubicBezTo>
                  <a:cubicBezTo>
                    <a:pt x="42" y="85"/>
                    <a:pt x="44" y="80"/>
                    <a:pt x="47" y="74"/>
                  </a:cubicBezTo>
                  <a:cubicBezTo>
                    <a:pt x="50" y="69"/>
                    <a:pt x="52" y="64"/>
                    <a:pt x="54" y="59"/>
                  </a:cubicBezTo>
                  <a:cubicBezTo>
                    <a:pt x="59" y="50"/>
                    <a:pt x="64" y="41"/>
                    <a:pt x="68" y="34"/>
                  </a:cubicBezTo>
                  <a:cubicBezTo>
                    <a:pt x="70" y="30"/>
                    <a:pt x="72" y="27"/>
                    <a:pt x="74" y="24"/>
                  </a:cubicBezTo>
                  <a:cubicBezTo>
                    <a:pt x="76" y="21"/>
                    <a:pt x="78" y="18"/>
                    <a:pt x="79" y="16"/>
                  </a:cubicBezTo>
                  <a:cubicBezTo>
                    <a:pt x="82" y="11"/>
                    <a:pt x="85" y="7"/>
                    <a:pt x="87" y="4"/>
                  </a:cubicBezTo>
                  <a:cubicBezTo>
                    <a:pt x="88" y="3"/>
                    <a:pt x="88" y="2"/>
                    <a:pt x="89" y="1"/>
                  </a:cubicBezTo>
                  <a:cubicBezTo>
                    <a:pt x="89" y="1"/>
                    <a:pt x="90" y="0"/>
                    <a:pt x="90" y="0"/>
                  </a:cubicBezTo>
                  <a:cubicBezTo>
                    <a:pt x="90" y="0"/>
                    <a:pt x="89" y="1"/>
                    <a:pt x="89" y="1"/>
                  </a:cubicBezTo>
                  <a:cubicBezTo>
                    <a:pt x="89" y="2"/>
                    <a:pt x="88" y="3"/>
                    <a:pt x="87" y="4"/>
                  </a:cubicBezTo>
                  <a:cubicBezTo>
                    <a:pt x="85" y="7"/>
                    <a:pt x="83" y="11"/>
                    <a:pt x="80" y="16"/>
                  </a:cubicBezTo>
                  <a:cubicBezTo>
                    <a:pt x="78" y="19"/>
                    <a:pt x="77" y="21"/>
                    <a:pt x="75" y="24"/>
                  </a:cubicBezTo>
                  <a:cubicBezTo>
                    <a:pt x="73" y="27"/>
                    <a:pt x="71" y="31"/>
                    <a:pt x="69" y="35"/>
                  </a:cubicBezTo>
                  <a:cubicBezTo>
                    <a:pt x="65" y="42"/>
                    <a:pt x="60" y="50"/>
                    <a:pt x="56" y="60"/>
                  </a:cubicBezTo>
                  <a:cubicBezTo>
                    <a:pt x="53" y="65"/>
                    <a:pt x="51" y="70"/>
                    <a:pt x="48" y="75"/>
                  </a:cubicBezTo>
                  <a:cubicBezTo>
                    <a:pt x="46" y="80"/>
                    <a:pt x="44" y="86"/>
                    <a:pt x="41" y="92"/>
                  </a:cubicBezTo>
                  <a:cubicBezTo>
                    <a:pt x="36" y="103"/>
                    <a:pt x="32" y="116"/>
                    <a:pt x="28" y="129"/>
                  </a:cubicBezTo>
                  <a:cubicBezTo>
                    <a:pt x="19" y="156"/>
                    <a:pt x="12" y="186"/>
                    <a:pt x="8" y="218"/>
                  </a:cubicBezTo>
                  <a:cubicBezTo>
                    <a:pt x="3" y="250"/>
                    <a:pt x="2" y="281"/>
                    <a:pt x="3" y="309"/>
                  </a:cubicBezTo>
                  <a:cubicBezTo>
                    <a:pt x="4" y="323"/>
                    <a:pt x="5" y="337"/>
                    <a:pt x="7" y="349"/>
                  </a:cubicBezTo>
                  <a:cubicBezTo>
                    <a:pt x="7" y="355"/>
                    <a:pt x="8" y="361"/>
                    <a:pt x="9" y="367"/>
                  </a:cubicBezTo>
                  <a:cubicBezTo>
                    <a:pt x="10" y="373"/>
                    <a:pt x="11" y="378"/>
                    <a:pt x="12" y="383"/>
                  </a:cubicBezTo>
                  <a:cubicBezTo>
                    <a:pt x="13" y="394"/>
                    <a:pt x="16" y="403"/>
                    <a:pt x="18" y="411"/>
                  </a:cubicBezTo>
                  <a:cubicBezTo>
                    <a:pt x="19" y="416"/>
                    <a:pt x="20" y="419"/>
                    <a:pt x="21" y="423"/>
                  </a:cubicBezTo>
                  <a:cubicBezTo>
                    <a:pt x="22" y="426"/>
                    <a:pt x="23" y="430"/>
                    <a:pt x="23" y="432"/>
                  </a:cubicBezTo>
                  <a:cubicBezTo>
                    <a:pt x="25" y="438"/>
                    <a:pt x="26" y="442"/>
                    <a:pt x="27" y="446"/>
                  </a:cubicBezTo>
                  <a:cubicBezTo>
                    <a:pt x="28" y="447"/>
                    <a:pt x="28" y="448"/>
                    <a:pt x="28" y="449"/>
                  </a:cubicBezTo>
                  <a:cubicBezTo>
                    <a:pt x="28" y="450"/>
                    <a:pt x="29" y="450"/>
                    <a:pt x="28" y="45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4">
              <a:extLst>
                <a:ext uri="{FF2B5EF4-FFF2-40B4-BE49-F238E27FC236}">
                  <a16:creationId xmlns:a16="http://schemas.microsoft.com/office/drawing/2014/main" id="{DB9971C9-2240-4D1B-8DA3-72D0B5D731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" y="509"/>
              <a:ext cx="138" cy="118"/>
            </a:xfrm>
            <a:custGeom>
              <a:avLst/>
              <a:gdLst>
                <a:gd name="T0" fmla="*/ 57 w 58"/>
                <a:gd name="T1" fmla="*/ 1 h 50"/>
                <a:gd name="T2" fmla="*/ 30 w 58"/>
                <a:gd name="T3" fmla="*/ 26 h 50"/>
                <a:gd name="T4" fmla="*/ 1 w 58"/>
                <a:gd name="T5" fmla="*/ 50 h 50"/>
                <a:gd name="T6" fmla="*/ 28 w 58"/>
                <a:gd name="T7" fmla="*/ 24 h 50"/>
                <a:gd name="T8" fmla="*/ 57 w 58"/>
                <a:gd name="T9" fmla="*/ 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50">
                  <a:moveTo>
                    <a:pt x="57" y="1"/>
                  </a:moveTo>
                  <a:cubicBezTo>
                    <a:pt x="58" y="1"/>
                    <a:pt x="45" y="13"/>
                    <a:pt x="30" y="26"/>
                  </a:cubicBezTo>
                  <a:cubicBezTo>
                    <a:pt x="14" y="39"/>
                    <a:pt x="1" y="50"/>
                    <a:pt x="1" y="50"/>
                  </a:cubicBezTo>
                  <a:cubicBezTo>
                    <a:pt x="0" y="49"/>
                    <a:pt x="13" y="38"/>
                    <a:pt x="28" y="24"/>
                  </a:cubicBezTo>
                  <a:cubicBezTo>
                    <a:pt x="44" y="11"/>
                    <a:pt x="57" y="0"/>
                    <a:pt x="57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5">
              <a:extLst>
                <a:ext uri="{FF2B5EF4-FFF2-40B4-BE49-F238E27FC236}">
                  <a16:creationId xmlns:a16="http://schemas.microsoft.com/office/drawing/2014/main" id="{FFEE694F-0620-470D-A781-49894C0F4C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0" y="1062"/>
              <a:ext cx="145" cy="864"/>
            </a:xfrm>
            <a:custGeom>
              <a:avLst/>
              <a:gdLst>
                <a:gd name="T0" fmla="*/ 0 w 61"/>
                <a:gd name="T1" fmla="*/ 364 h 364"/>
                <a:gd name="T2" fmla="*/ 1 w 61"/>
                <a:gd name="T3" fmla="*/ 363 h 364"/>
                <a:gd name="T4" fmla="*/ 2 w 61"/>
                <a:gd name="T5" fmla="*/ 361 h 364"/>
                <a:gd name="T6" fmla="*/ 7 w 61"/>
                <a:gd name="T7" fmla="*/ 351 h 364"/>
                <a:gd name="T8" fmla="*/ 10 w 61"/>
                <a:gd name="T9" fmla="*/ 344 h 364"/>
                <a:gd name="T10" fmla="*/ 14 w 61"/>
                <a:gd name="T11" fmla="*/ 335 h 364"/>
                <a:gd name="T12" fmla="*/ 23 w 61"/>
                <a:gd name="T13" fmla="*/ 314 h 364"/>
                <a:gd name="T14" fmla="*/ 28 w 61"/>
                <a:gd name="T15" fmla="*/ 302 h 364"/>
                <a:gd name="T16" fmla="*/ 32 w 61"/>
                <a:gd name="T17" fmla="*/ 288 h 364"/>
                <a:gd name="T18" fmla="*/ 41 w 61"/>
                <a:gd name="T19" fmla="*/ 258 h 364"/>
                <a:gd name="T20" fmla="*/ 55 w 61"/>
                <a:gd name="T21" fmla="*/ 186 h 364"/>
                <a:gd name="T22" fmla="*/ 59 w 61"/>
                <a:gd name="T23" fmla="*/ 113 h 364"/>
                <a:gd name="T24" fmla="*/ 57 w 61"/>
                <a:gd name="T25" fmla="*/ 81 h 364"/>
                <a:gd name="T26" fmla="*/ 56 w 61"/>
                <a:gd name="T27" fmla="*/ 67 h 364"/>
                <a:gd name="T28" fmla="*/ 54 w 61"/>
                <a:gd name="T29" fmla="*/ 54 h 364"/>
                <a:gd name="T30" fmla="*/ 51 w 61"/>
                <a:gd name="T31" fmla="*/ 31 h 364"/>
                <a:gd name="T32" fmla="*/ 49 w 61"/>
                <a:gd name="T33" fmla="*/ 22 h 364"/>
                <a:gd name="T34" fmla="*/ 47 w 61"/>
                <a:gd name="T35" fmla="*/ 14 h 364"/>
                <a:gd name="T36" fmla="*/ 45 w 61"/>
                <a:gd name="T37" fmla="*/ 4 h 364"/>
                <a:gd name="T38" fmla="*/ 45 w 61"/>
                <a:gd name="T39" fmla="*/ 1 h 364"/>
                <a:gd name="T40" fmla="*/ 44 w 61"/>
                <a:gd name="T41" fmla="*/ 0 h 364"/>
                <a:gd name="T42" fmla="*/ 45 w 61"/>
                <a:gd name="T43" fmla="*/ 1 h 364"/>
                <a:gd name="T44" fmla="*/ 46 w 61"/>
                <a:gd name="T45" fmla="*/ 3 h 364"/>
                <a:gd name="T46" fmla="*/ 48 w 61"/>
                <a:gd name="T47" fmla="*/ 14 h 364"/>
                <a:gd name="T48" fmla="*/ 50 w 61"/>
                <a:gd name="T49" fmla="*/ 22 h 364"/>
                <a:gd name="T50" fmla="*/ 52 w 61"/>
                <a:gd name="T51" fmla="*/ 31 h 364"/>
                <a:gd name="T52" fmla="*/ 56 w 61"/>
                <a:gd name="T53" fmla="*/ 54 h 364"/>
                <a:gd name="T54" fmla="*/ 58 w 61"/>
                <a:gd name="T55" fmla="*/ 67 h 364"/>
                <a:gd name="T56" fmla="*/ 59 w 61"/>
                <a:gd name="T57" fmla="*/ 81 h 364"/>
                <a:gd name="T58" fmla="*/ 61 w 61"/>
                <a:gd name="T59" fmla="*/ 113 h 364"/>
                <a:gd name="T60" fmla="*/ 57 w 61"/>
                <a:gd name="T61" fmla="*/ 186 h 364"/>
                <a:gd name="T62" fmla="*/ 43 w 61"/>
                <a:gd name="T63" fmla="*/ 258 h 364"/>
                <a:gd name="T64" fmla="*/ 34 w 61"/>
                <a:gd name="T65" fmla="*/ 289 h 364"/>
                <a:gd name="T66" fmla="*/ 29 w 61"/>
                <a:gd name="T67" fmla="*/ 302 h 364"/>
                <a:gd name="T68" fmla="*/ 24 w 61"/>
                <a:gd name="T69" fmla="*/ 315 h 364"/>
                <a:gd name="T70" fmla="*/ 15 w 61"/>
                <a:gd name="T71" fmla="*/ 336 h 364"/>
                <a:gd name="T72" fmla="*/ 11 w 61"/>
                <a:gd name="T73" fmla="*/ 344 h 364"/>
                <a:gd name="T74" fmla="*/ 7 w 61"/>
                <a:gd name="T75" fmla="*/ 351 h 364"/>
                <a:gd name="T76" fmla="*/ 2 w 61"/>
                <a:gd name="T77" fmla="*/ 361 h 364"/>
                <a:gd name="T78" fmla="*/ 1 w 61"/>
                <a:gd name="T79" fmla="*/ 363 h 364"/>
                <a:gd name="T80" fmla="*/ 0 w 61"/>
                <a:gd name="T81" fmla="*/ 364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1" h="364">
                  <a:moveTo>
                    <a:pt x="0" y="364"/>
                  </a:moveTo>
                  <a:cubicBezTo>
                    <a:pt x="0" y="364"/>
                    <a:pt x="0" y="364"/>
                    <a:pt x="1" y="363"/>
                  </a:cubicBezTo>
                  <a:cubicBezTo>
                    <a:pt x="1" y="363"/>
                    <a:pt x="1" y="362"/>
                    <a:pt x="2" y="361"/>
                  </a:cubicBezTo>
                  <a:cubicBezTo>
                    <a:pt x="3" y="358"/>
                    <a:pt x="5" y="355"/>
                    <a:pt x="7" y="351"/>
                  </a:cubicBezTo>
                  <a:cubicBezTo>
                    <a:pt x="8" y="349"/>
                    <a:pt x="9" y="346"/>
                    <a:pt x="10" y="344"/>
                  </a:cubicBezTo>
                  <a:cubicBezTo>
                    <a:pt x="11" y="341"/>
                    <a:pt x="13" y="338"/>
                    <a:pt x="14" y="335"/>
                  </a:cubicBezTo>
                  <a:cubicBezTo>
                    <a:pt x="17" y="329"/>
                    <a:pt x="20" y="322"/>
                    <a:pt x="23" y="314"/>
                  </a:cubicBezTo>
                  <a:cubicBezTo>
                    <a:pt x="24" y="310"/>
                    <a:pt x="26" y="306"/>
                    <a:pt x="28" y="302"/>
                  </a:cubicBezTo>
                  <a:cubicBezTo>
                    <a:pt x="29" y="297"/>
                    <a:pt x="31" y="293"/>
                    <a:pt x="32" y="288"/>
                  </a:cubicBezTo>
                  <a:cubicBezTo>
                    <a:pt x="36" y="279"/>
                    <a:pt x="38" y="268"/>
                    <a:pt x="41" y="258"/>
                  </a:cubicBezTo>
                  <a:cubicBezTo>
                    <a:pt x="47" y="236"/>
                    <a:pt x="52" y="212"/>
                    <a:pt x="55" y="186"/>
                  </a:cubicBezTo>
                  <a:cubicBezTo>
                    <a:pt x="58" y="160"/>
                    <a:pt x="59" y="136"/>
                    <a:pt x="59" y="113"/>
                  </a:cubicBezTo>
                  <a:cubicBezTo>
                    <a:pt x="59" y="102"/>
                    <a:pt x="58" y="91"/>
                    <a:pt x="57" y="81"/>
                  </a:cubicBezTo>
                  <a:cubicBezTo>
                    <a:pt x="57" y="76"/>
                    <a:pt x="57" y="72"/>
                    <a:pt x="56" y="67"/>
                  </a:cubicBezTo>
                  <a:cubicBezTo>
                    <a:pt x="55" y="62"/>
                    <a:pt x="55" y="58"/>
                    <a:pt x="54" y="54"/>
                  </a:cubicBezTo>
                  <a:cubicBezTo>
                    <a:pt x="53" y="45"/>
                    <a:pt x="52" y="38"/>
                    <a:pt x="51" y="31"/>
                  </a:cubicBezTo>
                  <a:cubicBezTo>
                    <a:pt x="50" y="28"/>
                    <a:pt x="50" y="25"/>
                    <a:pt x="49" y="22"/>
                  </a:cubicBezTo>
                  <a:cubicBezTo>
                    <a:pt x="48" y="19"/>
                    <a:pt x="48" y="17"/>
                    <a:pt x="47" y="14"/>
                  </a:cubicBezTo>
                  <a:cubicBezTo>
                    <a:pt x="46" y="10"/>
                    <a:pt x="46" y="6"/>
                    <a:pt x="45" y="4"/>
                  </a:cubicBezTo>
                  <a:cubicBezTo>
                    <a:pt x="45" y="2"/>
                    <a:pt x="45" y="2"/>
                    <a:pt x="45" y="1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5" y="0"/>
                    <a:pt x="45" y="0"/>
                    <a:pt x="45" y="1"/>
                  </a:cubicBezTo>
                  <a:cubicBezTo>
                    <a:pt x="45" y="1"/>
                    <a:pt x="45" y="2"/>
                    <a:pt x="46" y="3"/>
                  </a:cubicBezTo>
                  <a:cubicBezTo>
                    <a:pt x="46" y="6"/>
                    <a:pt x="47" y="10"/>
                    <a:pt x="48" y="14"/>
                  </a:cubicBezTo>
                  <a:cubicBezTo>
                    <a:pt x="49" y="16"/>
                    <a:pt x="49" y="19"/>
                    <a:pt x="50" y="22"/>
                  </a:cubicBezTo>
                  <a:cubicBezTo>
                    <a:pt x="51" y="25"/>
                    <a:pt x="51" y="28"/>
                    <a:pt x="52" y="31"/>
                  </a:cubicBezTo>
                  <a:cubicBezTo>
                    <a:pt x="53" y="38"/>
                    <a:pt x="55" y="45"/>
                    <a:pt x="56" y="54"/>
                  </a:cubicBezTo>
                  <a:cubicBezTo>
                    <a:pt x="56" y="58"/>
                    <a:pt x="57" y="62"/>
                    <a:pt x="58" y="67"/>
                  </a:cubicBezTo>
                  <a:cubicBezTo>
                    <a:pt x="58" y="71"/>
                    <a:pt x="59" y="76"/>
                    <a:pt x="59" y="81"/>
                  </a:cubicBezTo>
                  <a:cubicBezTo>
                    <a:pt x="60" y="91"/>
                    <a:pt x="60" y="102"/>
                    <a:pt x="61" y="113"/>
                  </a:cubicBezTo>
                  <a:cubicBezTo>
                    <a:pt x="61" y="136"/>
                    <a:pt x="60" y="160"/>
                    <a:pt x="57" y="186"/>
                  </a:cubicBezTo>
                  <a:cubicBezTo>
                    <a:pt x="54" y="212"/>
                    <a:pt x="49" y="236"/>
                    <a:pt x="43" y="258"/>
                  </a:cubicBezTo>
                  <a:cubicBezTo>
                    <a:pt x="40" y="269"/>
                    <a:pt x="37" y="279"/>
                    <a:pt x="34" y="289"/>
                  </a:cubicBezTo>
                  <a:cubicBezTo>
                    <a:pt x="32" y="293"/>
                    <a:pt x="31" y="298"/>
                    <a:pt x="29" y="302"/>
                  </a:cubicBezTo>
                  <a:cubicBezTo>
                    <a:pt x="27" y="307"/>
                    <a:pt x="26" y="311"/>
                    <a:pt x="24" y="315"/>
                  </a:cubicBezTo>
                  <a:cubicBezTo>
                    <a:pt x="21" y="323"/>
                    <a:pt x="18" y="330"/>
                    <a:pt x="15" y="336"/>
                  </a:cubicBezTo>
                  <a:cubicBezTo>
                    <a:pt x="14" y="339"/>
                    <a:pt x="12" y="342"/>
                    <a:pt x="11" y="344"/>
                  </a:cubicBezTo>
                  <a:cubicBezTo>
                    <a:pt x="10" y="347"/>
                    <a:pt x="9" y="349"/>
                    <a:pt x="7" y="351"/>
                  </a:cubicBezTo>
                  <a:cubicBezTo>
                    <a:pt x="5" y="355"/>
                    <a:pt x="4" y="359"/>
                    <a:pt x="2" y="361"/>
                  </a:cubicBezTo>
                  <a:cubicBezTo>
                    <a:pt x="2" y="362"/>
                    <a:pt x="1" y="363"/>
                    <a:pt x="1" y="363"/>
                  </a:cubicBezTo>
                  <a:cubicBezTo>
                    <a:pt x="1" y="364"/>
                    <a:pt x="0" y="364"/>
                    <a:pt x="0" y="36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6">
              <a:extLst>
                <a:ext uri="{FF2B5EF4-FFF2-40B4-BE49-F238E27FC236}">
                  <a16:creationId xmlns:a16="http://schemas.microsoft.com/office/drawing/2014/main" id="{50BBE1B4-8092-459D-9993-46A6CDA996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7" y="672"/>
              <a:ext cx="314" cy="250"/>
            </a:xfrm>
            <a:custGeom>
              <a:avLst/>
              <a:gdLst>
                <a:gd name="T0" fmla="*/ 114 w 132"/>
                <a:gd name="T1" fmla="*/ 39 h 105"/>
                <a:gd name="T2" fmla="*/ 27 w 132"/>
                <a:gd name="T3" fmla="*/ 2 h 105"/>
                <a:gd name="T4" fmla="*/ 14 w 132"/>
                <a:gd name="T5" fmla="*/ 1 h 105"/>
                <a:gd name="T6" fmla="*/ 3 w 132"/>
                <a:gd name="T7" fmla="*/ 8 h 105"/>
                <a:gd name="T8" fmla="*/ 6 w 132"/>
                <a:gd name="T9" fmla="*/ 25 h 105"/>
                <a:gd name="T10" fmla="*/ 36 w 132"/>
                <a:gd name="T11" fmla="*/ 52 h 105"/>
                <a:gd name="T12" fmla="*/ 132 w 132"/>
                <a:gd name="T13" fmla="*/ 105 h 105"/>
                <a:gd name="T14" fmla="*/ 114 w 132"/>
                <a:gd name="T15" fmla="*/ 39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2" h="105">
                  <a:moveTo>
                    <a:pt x="114" y="39"/>
                  </a:moveTo>
                  <a:cubicBezTo>
                    <a:pt x="86" y="23"/>
                    <a:pt x="58" y="9"/>
                    <a:pt x="27" y="2"/>
                  </a:cubicBezTo>
                  <a:cubicBezTo>
                    <a:pt x="23" y="1"/>
                    <a:pt x="18" y="0"/>
                    <a:pt x="14" y="1"/>
                  </a:cubicBezTo>
                  <a:cubicBezTo>
                    <a:pt x="9" y="1"/>
                    <a:pt x="5" y="4"/>
                    <a:pt x="3" y="8"/>
                  </a:cubicBezTo>
                  <a:cubicBezTo>
                    <a:pt x="0" y="13"/>
                    <a:pt x="3" y="20"/>
                    <a:pt x="6" y="25"/>
                  </a:cubicBezTo>
                  <a:cubicBezTo>
                    <a:pt x="14" y="36"/>
                    <a:pt x="25" y="44"/>
                    <a:pt x="36" y="52"/>
                  </a:cubicBezTo>
                  <a:cubicBezTo>
                    <a:pt x="67" y="72"/>
                    <a:pt x="99" y="88"/>
                    <a:pt x="132" y="105"/>
                  </a:cubicBezTo>
                  <a:cubicBezTo>
                    <a:pt x="128" y="81"/>
                    <a:pt x="120" y="61"/>
                    <a:pt x="114" y="39"/>
                  </a:cubicBezTo>
                </a:path>
              </a:pathLst>
            </a:custGeom>
            <a:solidFill>
              <a:srgbClr val="3037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7">
              <a:extLst>
                <a:ext uri="{FF2B5EF4-FFF2-40B4-BE49-F238E27FC236}">
                  <a16:creationId xmlns:a16="http://schemas.microsoft.com/office/drawing/2014/main" id="{F9B872E7-23AF-4E56-909D-9D5E31FA1F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5" y="763"/>
              <a:ext cx="168" cy="382"/>
            </a:xfrm>
            <a:custGeom>
              <a:avLst/>
              <a:gdLst>
                <a:gd name="T0" fmla="*/ 0 w 71"/>
                <a:gd name="T1" fmla="*/ 61 h 161"/>
                <a:gd name="T2" fmla="*/ 38 w 71"/>
                <a:gd name="T3" fmla="*/ 147 h 161"/>
                <a:gd name="T4" fmla="*/ 46 w 71"/>
                <a:gd name="T5" fmla="*/ 157 h 161"/>
                <a:gd name="T6" fmla="*/ 59 w 71"/>
                <a:gd name="T7" fmla="*/ 159 h 161"/>
                <a:gd name="T8" fmla="*/ 68 w 71"/>
                <a:gd name="T9" fmla="*/ 145 h 161"/>
                <a:gd name="T10" fmla="*/ 65 w 71"/>
                <a:gd name="T11" fmla="*/ 105 h 161"/>
                <a:gd name="T12" fmla="*/ 33 w 71"/>
                <a:gd name="T13" fmla="*/ 0 h 161"/>
                <a:gd name="T14" fmla="*/ 0 w 71"/>
                <a:gd name="T15" fmla="*/ 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161">
                  <a:moveTo>
                    <a:pt x="0" y="61"/>
                  </a:moveTo>
                  <a:cubicBezTo>
                    <a:pt x="9" y="91"/>
                    <a:pt x="20" y="121"/>
                    <a:pt x="38" y="147"/>
                  </a:cubicBezTo>
                  <a:cubicBezTo>
                    <a:pt x="40" y="151"/>
                    <a:pt x="43" y="155"/>
                    <a:pt x="46" y="157"/>
                  </a:cubicBezTo>
                  <a:cubicBezTo>
                    <a:pt x="50" y="160"/>
                    <a:pt x="55" y="161"/>
                    <a:pt x="59" y="159"/>
                  </a:cubicBezTo>
                  <a:cubicBezTo>
                    <a:pt x="65" y="157"/>
                    <a:pt x="67" y="151"/>
                    <a:pt x="68" y="145"/>
                  </a:cubicBezTo>
                  <a:cubicBezTo>
                    <a:pt x="71" y="132"/>
                    <a:pt x="68" y="118"/>
                    <a:pt x="65" y="105"/>
                  </a:cubicBezTo>
                  <a:cubicBezTo>
                    <a:pt x="57" y="69"/>
                    <a:pt x="45" y="35"/>
                    <a:pt x="33" y="0"/>
                  </a:cubicBezTo>
                  <a:cubicBezTo>
                    <a:pt x="20" y="20"/>
                    <a:pt x="12" y="40"/>
                    <a:pt x="0" y="61"/>
                  </a:cubicBezTo>
                </a:path>
              </a:pathLst>
            </a:custGeom>
            <a:solidFill>
              <a:srgbClr val="3037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18">
              <a:extLst>
                <a:ext uri="{FF2B5EF4-FFF2-40B4-BE49-F238E27FC236}">
                  <a16:creationId xmlns:a16="http://schemas.microsoft.com/office/drawing/2014/main" id="{2934D498-7648-428D-A3B7-A4A144E2B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6" y="689"/>
              <a:ext cx="575" cy="591"/>
            </a:xfrm>
            <a:custGeom>
              <a:avLst/>
              <a:gdLst>
                <a:gd name="T0" fmla="*/ 0 w 242"/>
                <a:gd name="T1" fmla="*/ 31 h 249"/>
                <a:gd name="T2" fmla="*/ 120 w 242"/>
                <a:gd name="T3" fmla="*/ 244 h 249"/>
                <a:gd name="T4" fmla="*/ 242 w 242"/>
                <a:gd name="T5" fmla="*/ 31 h 249"/>
                <a:gd name="T6" fmla="*/ 121 w 242"/>
                <a:gd name="T7" fmla="*/ 1 h 249"/>
                <a:gd name="T8" fmla="*/ 0 w 242"/>
                <a:gd name="T9" fmla="*/ 31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2" h="249">
                  <a:moveTo>
                    <a:pt x="0" y="31"/>
                  </a:moveTo>
                  <a:cubicBezTo>
                    <a:pt x="0" y="31"/>
                    <a:pt x="2" y="240"/>
                    <a:pt x="120" y="244"/>
                  </a:cubicBezTo>
                  <a:cubicBezTo>
                    <a:pt x="237" y="249"/>
                    <a:pt x="242" y="32"/>
                    <a:pt x="242" y="31"/>
                  </a:cubicBezTo>
                  <a:cubicBezTo>
                    <a:pt x="242" y="31"/>
                    <a:pt x="228" y="0"/>
                    <a:pt x="121" y="1"/>
                  </a:cubicBezTo>
                  <a:cubicBezTo>
                    <a:pt x="14" y="2"/>
                    <a:pt x="0" y="31"/>
                    <a:pt x="0" y="31"/>
                  </a:cubicBezTo>
                </a:path>
              </a:pathLst>
            </a:custGeom>
            <a:solidFill>
              <a:srgbClr val="3037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9">
              <a:extLst>
                <a:ext uri="{FF2B5EF4-FFF2-40B4-BE49-F238E27FC236}">
                  <a16:creationId xmlns:a16="http://schemas.microsoft.com/office/drawing/2014/main" id="{218508AB-C688-46F0-AB23-FD3CA0E1D08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1" y="853"/>
              <a:ext cx="200" cy="199"/>
            </a:xfrm>
            <a:custGeom>
              <a:avLst/>
              <a:gdLst>
                <a:gd name="T0" fmla="*/ 82 w 84"/>
                <a:gd name="T1" fmla="*/ 45 h 84"/>
                <a:gd name="T2" fmla="*/ 39 w 84"/>
                <a:gd name="T3" fmla="*/ 83 h 84"/>
                <a:gd name="T4" fmla="*/ 1 w 84"/>
                <a:gd name="T5" fmla="*/ 39 h 84"/>
                <a:gd name="T6" fmla="*/ 45 w 84"/>
                <a:gd name="T7" fmla="*/ 2 h 84"/>
                <a:gd name="T8" fmla="*/ 82 w 84"/>
                <a:gd name="T9" fmla="*/ 4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84">
                  <a:moveTo>
                    <a:pt x="82" y="45"/>
                  </a:moveTo>
                  <a:cubicBezTo>
                    <a:pt x="81" y="67"/>
                    <a:pt x="61" y="84"/>
                    <a:pt x="39" y="83"/>
                  </a:cubicBezTo>
                  <a:cubicBezTo>
                    <a:pt x="17" y="81"/>
                    <a:pt x="0" y="61"/>
                    <a:pt x="1" y="39"/>
                  </a:cubicBezTo>
                  <a:cubicBezTo>
                    <a:pt x="3" y="17"/>
                    <a:pt x="22" y="0"/>
                    <a:pt x="45" y="2"/>
                  </a:cubicBezTo>
                  <a:cubicBezTo>
                    <a:pt x="67" y="3"/>
                    <a:pt x="84" y="23"/>
                    <a:pt x="82" y="4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0">
              <a:extLst>
                <a:ext uri="{FF2B5EF4-FFF2-40B4-BE49-F238E27FC236}">
                  <a16:creationId xmlns:a16="http://schemas.microsoft.com/office/drawing/2014/main" id="{163BABE3-340B-4198-85A5-0ADF2D8DAF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8" y="879"/>
              <a:ext cx="145" cy="147"/>
            </a:xfrm>
            <a:custGeom>
              <a:avLst/>
              <a:gdLst>
                <a:gd name="T0" fmla="*/ 60 w 61"/>
                <a:gd name="T1" fmla="*/ 33 h 62"/>
                <a:gd name="T2" fmla="*/ 29 w 61"/>
                <a:gd name="T3" fmla="*/ 61 h 62"/>
                <a:gd name="T4" fmla="*/ 1 w 61"/>
                <a:gd name="T5" fmla="*/ 29 h 62"/>
                <a:gd name="T6" fmla="*/ 33 w 61"/>
                <a:gd name="T7" fmla="*/ 2 h 62"/>
                <a:gd name="T8" fmla="*/ 60 w 61"/>
                <a:gd name="T9" fmla="*/ 3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62">
                  <a:moveTo>
                    <a:pt x="60" y="33"/>
                  </a:moveTo>
                  <a:cubicBezTo>
                    <a:pt x="59" y="50"/>
                    <a:pt x="45" y="62"/>
                    <a:pt x="29" y="61"/>
                  </a:cubicBezTo>
                  <a:cubicBezTo>
                    <a:pt x="12" y="59"/>
                    <a:pt x="0" y="45"/>
                    <a:pt x="1" y="29"/>
                  </a:cubicBezTo>
                  <a:cubicBezTo>
                    <a:pt x="3" y="13"/>
                    <a:pt x="17" y="0"/>
                    <a:pt x="33" y="2"/>
                  </a:cubicBezTo>
                  <a:cubicBezTo>
                    <a:pt x="49" y="3"/>
                    <a:pt x="61" y="17"/>
                    <a:pt x="60" y="3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1">
              <a:extLst>
                <a:ext uri="{FF2B5EF4-FFF2-40B4-BE49-F238E27FC236}">
                  <a16:creationId xmlns:a16="http://schemas.microsoft.com/office/drawing/2014/main" id="{D4A74622-AFA9-4434-BADE-B06BB14E6A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3" y="905"/>
              <a:ext cx="76" cy="88"/>
            </a:xfrm>
            <a:custGeom>
              <a:avLst/>
              <a:gdLst>
                <a:gd name="T0" fmla="*/ 31 w 32"/>
                <a:gd name="T1" fmla="*/ 28 h 37"/>
                <a:gd name="T2" fmla="*/ 31 w 32"/>
                <a:gd name="T3" fmla="*/ 23 h 37"/>
                <a:gd name="T4" fmla="*/ 31 w 32"/>
                <a:gd name="T5" fmla="*/ 10 h 37"/>
                <a:gd name="T6" fmla="*/ 31 w 32"/>
                <a:gd name="T7" fmla="*/ 11 h 37"/>
                <a:gd name="T8" fmla="*/ 16 w 32"/>
                <a:gd name="T9" fmla="*/ 2 h 37"/>
                <a:gd name="T10" fmla="*/ 17 w 32"/>
                <a:gd name="T11" fmla="*/ 2 h 37"/>
                <a:gd name="T12" fmla="*/ 1 w 32"/>
                <a:gd name="T13" fmla="*/ 10 h 37"/>
                <a:gd name="T14" fmla="*/ 2 w 32"/>
                <a:gd name="T15" fmla="*/ 10 h 37"/>
                <a:gd name="T16" fmla="*/ 2 w 32"/>
                <a:gd name="T17" fmla="*/ 10 h 37"/>
                <a:gd name="T18" fmla="*/ 2 w 32"/>
                <a:gd name="T19" fmla="*/ 10 h 37"/>
                <a:gd name="T20" fmla="*/ 2 w 32"/>
                <a:gd name="T21" fmla="*/ 10 h 37"/>
                <a:gd name="T22" fmla="*/ 2 w 32"/>
                <a:gd name="T23" fmla="*/ 10 h 37"/>
                <a:gd name="T24" fmla="*/ 2 w 32"/>
                <a:gd name="T25" fmla="*/ 10 h 37"/>
                <a:gd name="T26" fmla="*/ 2 w 32"/>
                <a:gd name="T27" fmla="*/ 10 h 37"/>
                <a:gd name="T28" fmla="*/ 2 w 32"/>
                <a:gd name="T29" fmla="*/ 10 h 37"/>
                <a:gd name="T30" fmla="*/ 2 w 32"/>
                <a:gd name="T31" fmla="*/ 11 h 37"/>
                <a:gd name="T32" fmla="*/ 2 w 32"/>
                <a:gd name="T33" fmla="*/ 12 h 37"/>
                <a:gd name="T34" fmla="*/ 2 w 32"/>
                <a:gd name="T35" fmla="*/ 14 h 37"/>
                <a:gd name="T36" fmla="*/ 2 w 32"/>
                <a:gd name="T37" fmla="*/ 19 h 37"/>
                <a:gd name="T38" fmla="*/ 1 w 32"/>
                <a:gd name="T39" fmla="*/ 27 h 37"/>
                <a:gd name="T40" fmla="*/ 1 w 32"/>
                <a:gd name="T41" fmla="*/ 26 h 37"/>
                <a:gd name="T42" fmla="*/ 16 w 32"/>
                <a:gd name="T43" fmla="*/ 36 h 37"/>
                <a:gd name="T44" fmla="*/ 15 w 32"/>
                <a:gd name="T45" fmla="*/ 36 h 37"/>
                <a:gd name="T46" fmla="*/ 27 w 32"/>
                <a:gd name="T47" fmla="*/ 30 h 37"/>
                <a:gd name="T48" fmla="*/ 31 w 32"/>
                <a:gd name="T49" fmla="*/ 28 h 37"/>
                <a:gd name="T50" fmla="*/ 27 w 32"/>
                <a:gd name="T51" fmla="*/ 30 h 37"/>
                <a:gd name="T52" fmla="*/ 16 w 32"/>
                <a:gd name="T53" fmla="*/ 37 h 37"/>
                <a:gd name="T54" fmla="*/ 16 w 32"/>
                <a:gd name="T55" fmla="*/ 37 h 37"/>
                <a:gd name="T56" fmla="*/ 15 w 32"/>
                <a:gd name="T57" fmla="*/ 37 h 37"/>
                <a:gd name="T58" fmla="*/ 0 w 32"/>
                <a:gd name="T59" fmla="*/ 28 h 37"/>
                <a:gd name="T60" fmla="*/ 0 w 32"/>
                <a:gd name="T61" fmla="*/ 28 h 37"/>
                <a:gd name="T62" fmla="*/ 0 w 32"/>
                <a:gd name="T63" fmla="*/ 27 h 37"/>
                <a:gd name="T64" fmla="*/ 0 w 32"/>
                <a:gd name="T65" fmla="*/ 19 h 37"/>
                <a:gd name="T66" fmla="*/ 0 w 32"/>
                <a:gd name="T67" fmla="*/ 14 h 37"/>
                <a:gd name="T68" fmla="*/ 0 w 32"/>
                <a:gd name="T69" fmla="*/ 12 h 37"/>
                <a:gd name="T70" fmla="*/ 0 w 32"/>
                <a:gd name="T71" fmla="*/ 11 h 37"/>
                <a:gd name="T72" fmla="*/ 0 w 32"/>
                <a:gd name="T73" fmla="*/ 10 h 37"/>
                <a:gd name="T74" fmla="*/ 0 w 32"/>
                <a:gd name="T75" fmla="*/ 10 h 37"/>
                <a:gd name="T76" fmla="*/ 0 w 32"/>
                <a:gd name="T77" fmla="*/ 10 h 37"/>
                <a:gd name="T78" fmla="*/ 0 w 32"/>
                <a:gd name="T79" fmla="*/ 10 h 37"/>
                <a:gd name="T80" fmla="*/ 0 w 32"/>
                <a:gd name="T81" fmla="*/ 10 h 37"/>
                <a:gd name="T82" fmla="*/ 0 w 32"/>
                <a:gd name="T83" fmla="*/ 10 h 37"/>
                <a:gd name="T84" fmla="*/ 0 w 32"/>
                <a:gd name="T85" fmla="*/ 10 h 37"/>
                <a:gd name="T86" fmla="*/ 0 w 32"/>
                <a:gd name="T87" fmla="*/ 10 h 37"/>
                <a:gd name="T88" fmla="*/ 0 w 32"/>
                <a:gd name="T89" fmla="*/ 9 h 37"/>
                <a:gd name="T90" fmla="*/ 16 w 32"/>
                <a:gd name="T91" fmla="*/ 0 h 37"/>
                <a:gd name="T92" fmla="*/ 16 w 32"/>
                <a:gd name="T93" fmla="*/ 0 h 37"/>
                <a:gd name="T94" fmla="*/ 17 w 32"/>
                <a:gd name="T95" fmla="*/ 0 h 37"/>
                <a:gd name="T96" fmla="*/ 32 w 32"/>
                <a:gd name="T97" fmla="*/ 9 h 37"/>
                <a:gd name="T98" fmla="*/ 32 w 32"/>
                <a:gd name="T99" fmla="*/ 10 h 37"/>
                <a:gd name="T100" fmla="*/ 32 w 32"/>
                <a:gd name="T101" fmla="*/ 10 h 37"/>
                <a:gd name="T102" fmla="*/ 31 w 32"/>
                <a:gd name="T103" fmla="*/ 23 h 37"/>
                <a:gd name="T104" fmla="*/ 31 w 32"/>
                <a:gd name="T105" fmla="*/ 2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2" h="37">
                  <a:moveTo>
                    <a:pt x="31" y="28"/>
                  </a:moveTo>
                  <a:cubicBezTo>
                    <a:pt x="31" y="28"/>
                    <a:pt x="31" y="26"/>
                    <a:pt x="31" y="23"/>
                  </a:cubicBezTo>
                  <a:cubicBezTo>
                    <a:pt x="31" y="20"/>
                    <a:pt x="31" y="15"/>
                    <a:pt x="31" y="10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27" y="8"/>
                    <a:pt x="21" y="5"/>
                    <a:pt x="16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2" y="4"/>
                    <a:pt x="7" y="7"/>
                    <a:pt x="1" y="10"/>
                  </a:cubicBezTo>
                  <a:cubicBezTo>
                    <a:pt x="1" y="11"/>
                    <a:pt x="2" y="9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6"/>
                    <a:pt x="2" y="17"/>
                    <a:pt x="2" y="19"/>
                  </a:cubicBezTo>
                  <a:cubicBezTo>
                    <a:pt x="2" y="22"/>
                    <a:pt x="1" y="24"/>
                    <a:pt x="1" y="27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7" y="30"/>
                    <a:pt x="12" y="33"/>
                    <a:pt x="16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20" y="33"/>
                    <a:pt x="24" y="31"/>
                    <a:pt x="27" y="30"/>
                  </a:cubicBezTo>
                  <a:cubicBezTo>
                    <a:pt x="29" y="28"/>
                    <a:pt x="31" y="28"/>
                    <a:pt x="31" y="28"/>
                  </a:cubicBezTo>
                  <a:cubicBezTo>
                    <a:pt x="31" y="28"/>
                    <a:pt x="30" y="29"/>
                    <a:pt x="27" y="30"/>
                  </a:cubicBezTo>
                  <a:cubicBezTo>
                    <a:pt x="25" y="32"/>
                    <a:pt x="21" y="34"/>
                    <a:pt x="16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1" y="34"/>
                    <a:pt x="6" y="31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4"/>
                    <a:pt x="0" y="22"/>
                    <a:pt x="0" y="19"/>
                  </a:cubicBezTo>
                  <a:cubicBezTo>
                    <a:pt x="0" y="17"/>
                    <a:pt x="0" y="16"/>
                    <a:pt x="0" y="1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1" y="8"/>
                    <a:pt x="0" y="9"/>
                  </a:cubicBezTo>
                  <a:cubicBezTo>
                    <a:pt x="6" y="6"/>
                    <a:pt x="11" y="3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2" y="4"/>
                    <a:pt x="27" y="7"/>
                    <a:pt x="32" y="9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6"/>
                    <a:pt x="32" y="20"/>
                    <a:pt x="31" y="23"/>
                  </a:cubicBezTo>
                  <a:cubicBezTo>
                    <a:pt x="31" y="26"/>
                    <a:pt x="31" y="28"/>
                    <a:pt x="31" y="28"/>
                  </a:cubicBezTo>
                  <a:close/>
                </a:path>
              </a:pathLst>
            </a:custGeom>
            <a:solidFill>
              <a:srgbClr val="3037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2">
              <a:extLst>
                <a:ext uri="{FF2B5EF4-FFF2-40B4-BE49-F238E27FC236}">
                  <a16:creationId xmlns:a16="http://schemas.microsoft.com/office/drawing/2014/main" id="{4077C824-4122-4A94-8BD2-5B7CB08D4A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6" y="763"/>
              <a:ext cx="575" cy="54"/>
            </a:xfrm>
            <a:custGeom>
              <a:avLst/>
              <a:gdLst>
                <a:gd name="T0" fmla="*/ 0 w 242"/>
                <a:gd name="T1" fmla="*/ 0 h 23"/>
                <a:gd name="T2" fmla="*/ 0 w 242"/>
                <a:gd name="T3" fmla="*/ 0 h 23"/>
                <a:gd name="T4" fmla="*/ 2 w 242"/>
                <a:gd name="T5" fmla="*/ 1 h 23"/>
                <a:gd name="T6" fmla="*/ 9 w 242"/>
                <a:gd name="T7" fmla="*/ 3 h 23"/>
                <a:gd name="T8" fmla="*/ 14 w 242"/>
                <a:gd name="T9" fmla="*/ 5 h 23"/>
                <a:gd name="T10" fmla="*/ 20 w 242"/>
                <a:gd name="T11" fmla="*/ 7 h 23"/>
                <a:gd name="T12" fmla="*/ 34 w 242"/>
                <a:gd name="T13" fmla="*/ 11 h 23"/>
                <a:gd name="T14" fmla="*/ 43 w 242"/>
                <a:gd name="T15" fmla="*/ 13 h 23"/>
                <a:gd name="T16" fmla="*/ 52 w 242"/>
                <a:gd name="T17" fmla="*/ 15 h 23"/>
                <a:gd name="T18" fmla="*/ 73 w 242"/>
                <a:gd name="T19" fmla="*/ 19 h 23"/>
                <a:gd name="T20" fmla="*/ 121 w 242"/>
                <a:gd name="T21" fmla="*/ 22 h 23"/>
                <a:gd name="T22" fmla="*/ 169 w 242"/>
                <a:gd name="T23" fmla="*/ 19 h 23"/>
                <a:gd name="T24" fmla="*/ 190 w 242"/>
                <a:gd name="T25" fmla="*/ 15 h 23"/>
                <a:gd name="T26" fmla="*/ 199 w 242"/>
                <a:gd name="T27" fmla="*/ 13 h 23"/>
                <a:gd name="T28" fmla="*/ 207 w 242"/>
                <a:gd name="T29" fmla="*/ 11 h 23"/>
                <a:gd name="T30" fmla="*/ 222 w 242"/>
                <a:gd name="T31" fmla="*/ 7 h 23"/>
                <a:gd name="T32" fmla="*/ 228 w 242"/>
                <a:gd name="T33" fmla="*/ 5 h 23"/>
                <a:gd name="T34" fmla="*/ 233 w 242"/>
                <a:gd name="T35" fmla="*/ 3 h 23"/>
                <a:gd name="T36" fmla="*/ 240 w 242"/>
                <a:gd name="T37" fmla="*/ 1 h 23"/>
                <a:gd name="T38" fmla="*/ 241 w 242"/>
                <a:gd name="T39" fmla="*/ 0 h 23"/>
                <a:gd name="T40" fmla="*/ 242 w 242"/>
                <a:gd name="T41" fmla="*/ 0 h 23"/>
                <a:gd name="T42" fmla="*/ 241 w 242"/>
                <a:gd name="T43" fmla="*/ 0 h 23"/>
                <a:gd name="T44" fmla="*/ 240 w 242"/>
                <a:gd name="T45" fmla="*/ 1 h 23"/>
                <a:gd name="T46" fmla="*/ 233 w 242"/>
                <a:gd name="T47" fmla="*/ 3 h 23"/>
                <a:gd name="T48" fmla="*/ 228 w 242"/>
                <a:gd name="T49" fmla="*/ 5 h 23"/>
                <a:gd name="T50" fmla="*/ 222 w 242"/>
                <a:gd name="T51" fmla="*/ 7 h 23"/>
                <a:gd name="T52" fmla="*/ 208 w 242"/>
                <a:gd name="T53" fmla="*/ 11 h 23"/>
                <a:gd name="T54" fmla="*/ 199 w 242"/>
                <a:gd name="T55" fmla="*/ 14 h 23"/>
                <a:gd name="T56" fmla="*/ 190 w 242"/>
                <a:gd name="T57" fmla="*/ 16 h 23"/>
                <a:gd name="T58" fmla="*/ 169 w 242"/>
                <a:gd name="T59" fmla="*/ 19 h 23"/>
                <a:gd name="T60" fmla="*/ 121 w 242"/>
                <a:gd name="T61" fmla="*/ 23 h 23"/>
                <a:gd name="T62" fmla="*/ 73 w 242"/>
                <a:gd name="T63" fmla="*/ 19 h 23"/>
                <a:gd name="T64" fmla="*/ 52 w 242"/>
                <a:gd name="T65" fmla="*/ 16 h 23"/>
                <a:gd name="T66" fmla="*/ 43 w 242"/>
                <a:gd name="T67" fmla="*/ 14 h 23"/>
                <a:gd name="T68" fmla="*/ 34 w 242"/>
                <a:gd name="T69" fmla="*/ 11 h 23"/>
                <a:gd name="T70" fmla="*/ 20 w 242"/>
                <a:gd name="T71" fmla="*/ 7 h 23"/>
                <a:gd name="T72" fmla="*/ 14 w 242"/>
                <a:gd name="T73" fmla="*/ 5 h 23"/>
                <a:gd name="T74" fmla="*/ 9 w 242"/>
                <a:gd name="T75" fmla="*/ 3 h 23"/>
                <a:gd name="T76" fmla="*/ 2 w 242"/>
                <a:gd name="T77" fmla="*/ 1 h 23"/>
                <a:gd name="T78" fmla="*/ 0 w 242"/>
                <a:gd name="T79" fmla="*/ 0 h 23"/>
                <a:gd name="T80" fmla="*/ 0 w 242"/>
                <a:gd name="T8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42" h="23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2" y="1"/>
                  </a:cubicBezTo>
                  <a:cubicBezTo>
                    <a:pt x="4" y="1"/>
                    <a:pt x="6" y="2"/>
                    <a:pt x="9" y="3"/>
                  </a:cubicBezTo>
                  <a:cubicBezTo>
                    <a:pt x="10" y="3"/>
                    <a:pt x="12" y="4"/>
                    <a:pt x="14" y="5"/>
                  </a:cubicBezTo>
                  <a:cubicBezTo>
                    <a:pt x="16" y="5"/>
                    <a:pt x="18" y="6"/>
                    <a:pt x="20" y="7"/>
                  </a:cubicBezTo>
                  <a:cubicBezTo>
                    <a:pt x="24" y="8"/>
                    <a:pt x="29" y="9"/>
                    <a:pt x="34" y="11"/>
                  </a:cubicBezTo>
                  <a:cubicBezTo>
                    <a:pt x="37" y="11"/>
                    <a:pt x="40" y="12"/>
                    <a:pt x="43" y="13"/>
                  </a:cubicBezTo>
                  <a:cubicBezTo>
                    <a:pt x="46" y="14"/>
                    <a:pt x="49" y="14"/>
                    <a:pt x="52" y="15"/>
                  </a:cubicBezTo>
                  <a:cubicBezTo>
                    <a:pt x="58" y="16"/>
                    <a:pt x="65" y="17"/>
                    <a:pt x="73" y="19"/>
                  </a:cubicBezTo>
                  <a:cubicBezTo>
                    <a:pt x="87" y="21"/>
                    <a:pt x="104" y="22"/>
                    <a:pt x="121" y="22"/>
                  </a:cubicBezTo>
                  <a:cubicBezTo>
                    <a:pt x="138" y="22"/>
                    <a:pt x="154" y="21"/>
                    <a:pt x="169" y="19"/>
                  </a:cubicBezTo>
                  <a:cubicBezTo>
                    <a:pt x="176" y="17"/>
                    <a:pt x="183" y="16"/>
                    <a:pt x="190" y="15"/>
                  </a:cubicBezTo>
                  <a:cubicBezTo>
                    <a:pt x="193" y="14"/>
                    <a:pt x="196" y="14"/>
                    <a:pt x="199" y="13"/>
                  </a:cubicBezTo>
                  <a:cubicBezTo>
                    <a:pt x="202" y="12"/>
                    <a:pt x="205" y="11"/>
                    <a:pt x="207" y="11"/>
                  </a:cubicBezTo>
                  <a:cubicBezTo>
                    <a:pt x="213" y="9"/>
                    <a:pt x="218" y="8"/>
                    <a:pt x="222" y="7"/>
                  </a:cubicBezTo>
                  <a:cubicBezTo>
                    <a:pt x="224" y="6"/>
                    <a:pt x="226" y="5"/>
                    <a:pt x="228" y="5"/>
                  </a:cubicBezTo>
                  <a:cubicBezTo>
                    <a:pt x="230" y="4"/>
                    <a:pt x="231" y="3"/>
                    <a:pt x="233" y="3"/>
                  </a:cubicBezTo>
                  <a:cubicBezTo>
                    <a:pt x="236" y="2"/>
                    <a:pt x="238" y="1"/>
                    <a:pt x="240" y="1"/>
                  </a:cubicBezTo>
                  <a:cubicBezTo>
                    <a:pt x="240" y="0"/>
                    <a:pt x="241" y="0"/>
                    <a:pt x="241" y="0"/>
                  </a:cubicBezTo>
                  <a:cubicBezTo>
                    <a:pt x="242" y="0"/>
                    <a:pt x="242" y="0"/>
                    <a:pt x="242" y="0"/>
                  </a:cubicBezTo>
                  <a:cubicBezTo>
                    <a:pt x="242" y="0"/>
                    <a:pt x="242" y="0"/>
                    <a:pt x="241" y="0"/>
                  </a:cubicBezTo>
                  <a:cubicBezTo>
                    <a:pt x="241" y="0"/>
                    <a:pt x="240" y="0"/>
                    <a:pt x="240" y="1"/>
                  </a:cubicBezTo>
                  <a:cubicBezTo>
                    <a:pt x="238" y="1"/>
                    <a:pt x="236" y="2"/>
                    <a:pt x="233" y="3"/>
                  </a:cubicBezTo>
                  <a:cubicBezTo>
                    <a:pt x="231" y="4"/>
                    <a:pt x="230" y="4"/>
                    <a:pt x="228" y="5"/>
                  </a:cubicBezTo>
                  <a:cubicBezTo>
                    <a:pt x="226" y="6"/>
                    <a:pt x="224" y="6"/>
                    <a:pt x="222" y="7"/>
                  </a:cubicBezTo>
                  <a:cubicBezTo>
                    <a:pt x="218" y="8"/>
                    <a:pt x="213" y="10"/>
                    <a:pt x="208" y="11"/>
                  </a:cubicBezTo>
                  <a:cubicBezTo>
                    <a:pt x="205" y="12"/>
                    <a:pt x="202" y="13"/>
                    <a:pt x="199" y="14"/>
                  </a:cubicBezTo>
                  <a:cubicBezTo>
                    <a:pt x="196" y="14"/>
                    <a:pt x="193" y="15"/>
                    <a:pt x="190" y="16"/>
                  </a:cubicBezTo>
                  <a:cubicBezTo>
                    <a:pt x="183" y="17"/>
                    <a:pt x="176" y="18"/>
                    <a:pt x="169" y="19"/>
                  </a:cubicBezTo>
                  <a:cubicBezTo>
                    <a:pt x="154" y="21"/>
                    <a:pt x="138" y="23"/>
                    <a:pt x="121" y="23"/>
                  </a:cubicBezTo>
                  <a:cubicBezTo>
                    <a:pt x="104" y="23"/>
                    <a:pt x="87" y="21"/>
                    <a:pt x="73" y="19"/>
                  </a:cubicBezTo>
                  <a:cubicBezTo>
                    <a:pt x="65" y="18"/>
                    <a:pt x="58" y="17"/>
                    <a:pt x="52" y="16"/>
                  </a:cubicBezTo>
                  <a:cubicBezTo>
                    <a:pt x="49" y="15"/>
                    <a:pt x="46" y="14"/>
                    <a:pt x="43" y="14"/>
                  </a:cubicBezTo>
                  <a:cubicBezTo>
                    <a:pt x="40" y="13"/>
                    <a:pt x="37" y="12"/>
                    <a:pt x="34" y="11"/>
                  </a:cubicBezTo>
                  <a:cubicBezTo>
                    <a:pt x="29" y="10"/>
                    <a:pt x="24" y="8"/>
                    <a:pt x="20" y="7"/>
                  </a:cubicBezTo>
                  <a:cubicBezTo>
                    <a:pt x="17" y="6"/>
                    <a:pt x="15" y="6"/>
                    <a:pt x="14" y="5"/>
                  </a:cubicBezTo>
                  <a:cubicBezTo>
                    <a:pt x="12" y="4"/>
                    <a:pt x="10" y="4"/>
                    <a:pt x="9" y="3"/>
                  </a:cubicBezTo>
                  <a:cubicBezTo>
                    <a:pt x="6" y="2"/>
                    <a:pt x="4" y="1"/>
                    <a:pt x="2" y="1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3">
              <a:extLst>
                <a:ext uri="{FF2B5EF4-FFF2-40B4-BE49-F238E27FC236}">
                  <a16:creationId xmlns:a16="http://schemas.microsoft.com/office/drawing/2014/main" id="{EC4697CC-2723-4AF2-A754-FBAAF04970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7" y="691"/>
              <a:ext cx="274" cy="72"/>
            </a:xfrm>
            <a:custGeom>
              <a:avLst/>
              <a:gdLst>
                <a:gd name="T0" fmla="*/ 53 w 115"/>
                <a:gd name="T1" fmla="*/ 3 h 30"/>
                <a:gd name="T2" fmla="*/ 53 w 115"/>
                <a:gd name="T3" fmla="*/ 3 h 30"/>
                <a:gd name="T4" fmla="*/ 115 w 115"/>
                <a:gd name="T5" fmla="*/ 30 h 30"/>
                <a:gd name="T6" fmla="*/ 115 w 115"/>
                <a:gd name="T7" fmla="*/ 30 h 30"/>
                <a:gd name="T8" fmla="*/ 53 w 115"/>
                <a:gd name="T9" fmla="*/ 3 h 30"/>
                <a:gd name="T10" fmla="*/ 0 w 115"/>
                <a:gd name="T11" fmla="*/ 0 h 30"/>
                <a:gd name="T12" fmla="*/ 51 w 115"/>
                <a:gd name="T13" fmla="*/ 3 h 30"/>
                <a:gd name="T14" fmla="*/ 51 w 115"/>
                <a:gd name="T15" fmla="*/ 3 h 30"/>
                <a:gd name="T16" fmla="*/ 0 w 115"/>
                <a:gd name="T17" fmla="*/ 0 h 30"/>
                <a:gd name="T18" fmla="*/ 0 w 115"/>
                <a:gd name="T19" fmla="*/ 0 h 30"/>
                <a:gd name="T20" fmla="*/ 0 w 115"/>
                <a:gd name="T21" fmla="*/ 0 h 30"/>
                <a:gd name="T22" fmla="*/ 0 w 115"/>
                <a:gd name="T23" fmla="*/ 0 h 30"/>
                <a:gd name="T24" fmla="*/ 0 w 115"/>
                <a:gd name="T2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5" h="30">
                  <a:moveTo>
                    <a:pt x="53" y="3"/>
                  </a:moveTo>
                  <a:cubicBezTo>
                    <a:pt x="53" y="3"/>
                    <a:pt x="53" y="3"/>
                    <a:pt x="53" y="3"/>
                  </a:cubicBezTo>
                  <a:cubicBezTo>
                    <a:pt x="107" y="11"/>
                    <a:pt x="115" y="30"/>
                    <a:pt x="115" y="30"/>
                  </a:cubicBezTo>
                  <a:cubicBezTo>
                    <a:pt x="115" y="30"/>
                    <a:pt x="115" y="30"/>
                    <a:pt x="115" y="30"/>
                  </a:cubicBezTo>
                  <a:cubicBezTo>
                    <a:pt x="115" y="30"/>
                    <a:pt x="107" y="11"/>
                    <a:pt x="53" y="3"/>
                  </a:cubicBezTo>
                  <a:moveTo>
                    <a:pt x="0" y="0"/>
                  </a:moveTo>
                  <a:cubicBezTo>
                    <a:pt x="20" y="0"/>
                    <a:pt x="37" y="1"/>
                    <a:pt x="51" y="3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37" y="1"/>
                    <a:pt x="2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4">
              <a:extLst>
                <a:ext uri="{FF2B5EF4-FFF2-40B4-BE49-F238E27FC236}">
                  <a16:creationId xmlns:a16="http://schemas.microsoft.com/office/drawing/2014/main" id="{4D349D9A-B236-4F4E-82E5-4174B7E6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" y="699"/>
              <a:ext cx="4" cy="0"/>
            </a:xfrm>
            <a:custGeom>
              <a:avLst/>
              <a:gdLst>
                <a:gd name="T0" fmla="*/ 0 w 2"/>
                <a:gd name="T1" fmla="*/ 0 w 2"/>
                <a:gd name="T2" fmla="*/ 2 w 2"/>
                <a:gd name="T3" fmla="*/ 2 w 2"/>
                <a:gd name="T4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5">
              <a:extLst>
                <a:ext uri="{FF2B5EF4-FFF2-40B4-BE49-F238E27FC236}">
                  <a16:creationId xmlns:a16="http://schemas.microsoft.com/office/drawing/2014/main" id="{E80A2076-8D02-45B3-9B5D-4071979892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6" y="691"/>
              <a:ext cx="575" cy="129"/>
            </a:xfrm>
            <a:custGeom>
              <a:avLst/>
              <a:gdLst>
                <a:gd name="T0" fmla="*/ 4 w 242"/>
                <a:gd name="T1" fmla="*/ 32 h 54"/>
                <a:gd name="T2" fmla="*/ 8 w 242"/>
                <a:gd name="T3" fmla="*/ 33 h 54"/>
                <a:gd name="T4" fmla="*/ 4 w 242"/>
                <a:gd name="T5" fmla="*/ 32 h 54"/>
                <a:gd name="T6" fmla="*/ 127 w 242"/>
                <a:gd name="T7" fmla="*/ 0 h 54"/>
                <a:gd name="T8" fmla="*/ 127 w 242"/>
                <a:gd name="T9" fmla="*/ 0 h 54"/>
                <a:gd name="T10" fmla="*/ 121 w 242"/>
                <a:gd name="T11" fmla="*/ 0 h 54"/>
                <a:gd name="T12" fmla="*/ 121 w 242"/>
                <a:gd name="T13" fmla="*/ 0 h 54"/>
                <a:gd name="T14" fmla="*/ 111 w 242"/>
                <a:gd name="T15" fmla="*/ 0 h 54"/>
                <a:gd name="T16" fmla="*/ 0 w 242"/>
                <a:gd name="T17" fmla="*/ 30 h 54"/>
                <a:gd name="T18" fmla="*/ 0 w 242"/>
                <a:gd name="T19" fmla="*/ 30 h 54"/>
                <a:gd name="T20" fmla="*/ 2 w 242"/>
                <a:gd name="T21" fmla="*/ 31 h 54"/>
                <a:gd name="T22" fmla="*/ 9 w 242"/>
                <a:gd name="T23" fmla="*/ 33 h 54"/>
                <a:gd name="T24" fmla="*/ 14 w 242"/>
                <a:gd name="T25" fmla="*/ 35 h 54"/>
                <a:gd name="T26" fmla="*/ 20 w 242"/>
                <a:gd name="T27" fmla="*/ 37 h 54"/>
                <a:gd name="T28" fmla="*/ 34 w 242"/>
                <a:gd name="T29" fmla="*/ 41 h 54"/>
                <a:gd name="T30" fmla="*/ 43 w 242"/>
                <a:gd name="T31" fmla="*/ 43 h 54"/>
                <a:gd name="T32" fmla="*/ 52 w 242"/>
                <a:gd name="T33" fmla="*/ 45 h 54"/>
                <a:gd name="T34" fmla="*/ 73 w 242"/>
                <a:gd name="T35" fmla="*/ 49 h 54"/>
                <a:gd name="T36" fmla="*/ 121 w 242"/>
                <a:gd name="T37" fmla="*/ 52 h 54"/>
                <a:gd name="T38" fmla="*/ 169 w 242"/>
                <a:gd name="T39" fmla="*/ 49 h 54"/>
                <a:gd name="T40" fmla="*/ 190 w 242"/>
                <a:gd name="T41" fmla="*/ 45 h 54"/>
                <a:gd name="T42" fmla="*/ 199 w 242"/>
                <a:gd name="T43" fmla="*/ 43 h 54"/>
                <a:gd name="T44" fmla="*/ 207 w 242"/>
                <a:gd name="T45" fmla="*/ 41 h 54"/>
                <a:gd name="T46" fmla="*/ 222 w 242"/>
                <a:gd name="T47" fmla="*/ 37 h 54"/>
                <a:gd name="T48" fmla="*/ 228 w 242"/>
                <a:gd name="T49" fmla="*/ 35 h 54"/>
                <a:gd name="T50" fmla="*/ 233 w 242"/>
                <a:gd name="T51" fmla="*/ 33 h 54"/>
                <a:gd name="T52" fmla="*/ 240 w 242"/>
                <a:gd name="T53" fmla="*/ 31 h 54"/>
                <a:gd name="T54" fmla="*/ 241 w 242"/>
                <a:gd name="T55" fmla="*/ 30 h 54"/>
                <a:gd name="T56" fmla="*/ 242 w 242"/>
                <a:gd name="T57" fmla="*/ 30 h 54"/>
                <a:gd name="T58" fmla="*/ 242 w 242"/>
                <a:gd name="T59" fmla="*/ 30 h 54"/>
                <a:gd name="T60" fmla="*/ 241 w 242"/>
                <a:gd name="T61" fmla="*/ 30 h 54"/>
                <a:gd name="T62" fmla="*/ 240 w 242"/>
                <a:gd name="T63" fmla="*/ 31 h 54"/>
                <a:gd name="T64" fmla="*/ 233 w 242"/>
                <a:gd name="T65" fmla="*/ 33 h 54"/>
                <a:gd name="T66" fmla="*/ 228 w 242"/>
                <a:gd name="T67" fmla="*/ 35 h 54"/>
                <a:gd name="T68" fmla="*/ 222 w 242"/>
                <a:gd name="T69" fmla="*/ 37 h 54"/>
                <a:gd name="T70" fmla="*/ 208 w 242"/>
                <a:gd name="T71" fmla="*/ 41 h 54"/>
                <a:gd name="T72" fmla="*/ 199 w 242"/>
                <a:gd name="T73" fmla="*/ 44 h 54"/>
                <a:gd name="T74" fmla="*/ 190 w 242"/>
                <a:gd name="T75" fmla="*/ 46 h 54"/>
                <a:gd name="T76" fmla="*/ 169 w 242"/>
                <a:gd name="T77" fmla="*/ 49 h 54"/>
                <a:gd name="T78" fmla="*/ 121 w 242"/>
                <a:gd name="T79" fmla="*/ 53 h 54"/>
                <a:gd name="T80" fmla="*/ 73 w 242"/>
                <a:gd name="T81" fmla="*/ 49 h 54"/>
                <a:gd name="T82" fmla="*/ 52 w 242"/>
                <a:gd name="T83" fmla="*/ 46 h 54"/>
                <a:gd name="T84" fmla="*/ 43 w 242"/>
                <a:gd name="T85" fmla="*/ 44 h 54"/>
                <a:gd name="T86" fmla="*/ 34 w 242"/>
                <a:gd name="T87" fmla="*/ 41 h 54"/>
                <a:gd name="T88" fmla="*/ 20 w 242"/>
                <a:gd name="T89" fmla="*/ 37 h 54"/>
                <a:gd name="T90" fmla="*/ 18 w 242"/>
                <a:gd name="T91" fmla="*/ 36 h 54"/>
                <a:gd name="T92" fmla="*/ 122 w 242"/>
                <a:gd name="T93" fmla="*/ 54 h 54"/>
                <a:gd name="T94" fmla="*/ 242 w 242"/>
                <a:gd name="T95" fmla="*/ 30 h 54"/>
                <a:gd name="T96" fmla="*/ 180 w 242"/>
                <a:gd name="T97" fmla="*/ 3 h 54"/>
                <a:gd name="T98" fmla="*/ 178 w 242"/>
                <a:gd name="T99" fmla="*/ 3 h 54"/>
                <a:gd name="T100" fmla="*/ 127 w 242"/>
                <a:gd name="T101" fmla="*/ 0 h 54"/>
                <a:gd name="T102" fmla="*/ 127 w 242"/>
                <a:gd name="T103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42" h="54">
                  <a:moveTo>
                    <a:pt x="4" y="32"/>
                  </a:moveTo>
                  <a:cubicBezTo>
                    <a:pt x="6" y="32"/>
                    <a:pt x="7" y="32"/>
                    <a:pt x="8" y="33"/>
                  </a:cubicBezTo>
                  <a:cubicBezTo>
                    <a:pt x="6" y="32"/>
                    <a:pt x="5" y="32"/>
                    <a:pt x="4" y="32"/>
                  </a:cubicBezTo>
                  <a:moveTo>
                    <a:pt x="127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5" y="0"/>
                    <a:pt x="123" y="0"/>
                    <a:pt x="121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18" y="0"/>
                    <a:pt x="114" y="0"/>
                    <a:pt x="111" y="0"/>
                  </a:cubicBezTo>
                  <a:cubicBezTo>
                    <a:pt x="15" y="3"/>
                    <a:pt x="1" y="29"/>
                    <a:pt x="0" y="3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1" y="30"/>
                    <a:pt x="2" y="31"/>
                  </a:cubicBezTo>
                  <a:cubicBezTo>
                    <a:pt x="4" y="31"/>
                    <a:pt x="6" y="32"/>
                    <a:pt x="9" y="33"/>
                  </a:cubicBezTo>
                  <a:cubicBezTo>
                    <a:pt x="10" y="33"/>
                    <a:pt x="12" y="34"/>
                    <a:pt x="14" y="35"/>
                  </a:cubicBezTo>
                  <a:cubicBezTo>
                    <a:pt x="16" y="35"/>
                    <a:pt x="18" y="36"/>
                    <a:pt x="20" y="37"/>
                  </a:cubicBezTo>
                  <a:cubicBezTo>
                    <a:pt x="24" y="38"/>
                    <a:pt x="29" y="39"/>
                    <a:pt x="34" y="41"/>
                  </a:cubicBezTo>
                  <a:cubicBezTo>
                    <a:pt x="37" y="41"/>
                    <a:pt x="40" y="42"/>
                    <a:pt x="43" y="43"/>
                  </a:cubicBezTo>
                  <a:cubicBezTo>
                    <a:pt x="46" y="44"/>
                    <a:pt x="49" y="44"/>
                    <a:pt x="52" y="45"/>
                  </a:cubicBezTo>
                  <a:cubicBezTo>
                    <a:pt x="58" y="46"/>
                    <a:pt x="65" y="47"/>
                    <a:pt x="73" y="49"/>
                  </a:cubicBezTo>
                  <a:cubicBezTo>
                    <a:pt x="87" y="51"/>
                    <a:pt x="104" y="52"/>
                    <a:pt x="121" y="52"/>
                  </a:cubicBezTo>
                  <a:cubicBezTo>
                    <a:pt x="138" y="52"/>
                    <a:pt x="154" y="51"/>
                    <a:pt x="169" y="49"/>
                  </a:cubicBezTo>
                  <a:cubicBezTo>
                    <a:pt x="176" y="47"/>
                    <a:pt x="183" y="46"/>
                    <a:pt x="190" y="45"/>
                  </a:cubicBezTo>
                  <a:cubicBezTo>
                    <a:pt x="193" y="44"/>
                    <a:pt x="196" y="44"/>
                    <a:pt x="199" y="43"/>
                  </a:cubicBezTo>
                  <a:cubicBezTo>
                    <a:pt x="202" y="42"/>
                    <a:pt x="205" y="41"/>
                    <a:pt x="207" y="41"/>
                  </a:cubicBezTo>
                  <a:cubicBezTo>
                    <a:pt x="213" y="39"/>
                    <a:pt x="218" y="38"/>
                    <a:pt x="222" y="37"/>
                  </a:cubicBezTo>
                  <a:cubicBezTo>
                    <a:pt x="224" y="36"/>
                    <a:pt x="226" y="35"/>
                    <a:pt x="228" y="35"/>
                  </a:cubicBezTo>
                  <a:cubicBezTo>
                    <a:pt x="230" y="34"/>
                    <a:pt x="231" y="33"/>
                    <a:pt x="233" y="33"/>
                  </a:cubicBezTo>
                  <a:cubicBezTo>
                    <a:pt x="236" y="32"/>
                    <a:pt x="238" y="31"/>
                    <a:pt x="240" y="31"/>
                  </a:cubicBezTo>
                  <a:cubicBezTo>
                    <a:pt x="240" y="30"/>
                    <a:pt x="241" y="30"/>
                    <a:pt x="241" y="30"/>
                  </a:cubicBezTo>
                  <a:cubicBezTo>
                    <a:pt x="242" y="30"/>
                    <a:pt x="242" y="30"/>
                    <a:pt x="242" y="30"/>
                  </a:cubicBezTo>
                  <a:cubicBezTo>
                    <a:pt x="242" y="30"/>
                    <a:pt x="242" y="30"/>
                    <a:pt x="242" y="30"/>
                  </a:cubicBezTo>
                  <a:cubicBezTo>
                    <a:pt x="242" y="30"/>
                    <a:pt x="242" y="30"/>
                    <a:pt x="241" y="30"/>
                  </a:cubicBezTo>
                  <a:cubicBezTo>
                    <a:pt x="241" y="30"/>
                    <a:pt x="240" y="30"/>
                    <a:pt x="240" y="31"/>
                  </a:cubicBezTo>
                  <a:cubicBezTo>
                    <a:pt x="238" y="31"/>
                    <a:pt x="236" y="32"/>
                    <a:pt x="233" y="33"/>
                  </a:cubicBezTo>
                  <a:cubicBezTo>
                    <a:pt x="231" y="34"/>
                    <a:pt x="230" y="34"/>
                    <a:pt x="228" y="35"/>
                  </a:cubicBezTo>
                  <a:cubicBezTo>
                    <a:pt x="226" y="36"/>
                    <a:pt x="224" y="36"/>
                    <a:pt x="222" y="37"/>
                  </a:cubicBezTo>
                  <a:cubicBezTo>
                    <a:pt x="218" y="38"/>
                    <a:pt x="213" y="40"/>
                    <a:pt x="208" y="41"/>
                  </a:cubicBezTo>
                  <a:cubicBezTo>
                    <a:pt x="205" y="42"/>
                    <a:pt x="202" y="43"/>
                    <a:pt x="199" y="44"/>
                  </a:cubicBezTo>
                  <a:cubicBezTo>
                    <a:pt x="196" y="44"/>
                    <a:pt x="193" y="45"/>
                    <a:pt x="190" y="46"/>
                  </a:cubicBezTo>
                  <a:cubicBezTo>
                    <a:pt x="183" y="47"/>
                    <a:pt x="176" y="48"/>
                    <a:pt x="169" y="49"/>
                  </a:cubicBezTo>
                  <a:cubicBezTo>
                    <a:pt x="154" y="51"/>
                    <a:pt x="138" y="53"/>
                    <a:pt x="121" y="53"/>
                  </a:cubicBezTo>
                  <a:cubicBezTo>
                    <a:pt x="104" y="53"/>
                    <a:pt x="87" y="51"/>
                    <a:pt x="73" y="49"/>
                  </a:cubicBezTo>
                  <a:cubicBezTo>
                    <a:pt x="65" y="48"/>
                    <a:pt x="58" y="47"/>
                    <a:pt x="52" y="46"/>
                  </a:cubicBezTo>
                  <a:cubicBezTo>
                    <a:pt x="49" y="45"/>
                    <a:pt x="46" y="44"/>
                    <a:pt x="43" y="44"/>
                  </a:cubicBezTo>
                  <a:cubicBezTo>
                    <a:pt x="40" y="43"/>
                    <a:pt x="37" y="42"/>
                    <a:pt x="34" y="41"/>
                  </a:cubicBezTo>
                  <a:cubicBezTo>
                    <a:pt x="29" y="40"/>
                    <a:pt x="24" y="38"/>
                    <a:pt x="20" y="37"/>
                  </a:cubicBezTo>
                  <a:cubicBezTo>
                    <a:pt x="19" y="37"/>
                    <a:pt x="18" y="37"/>
                    <a:pt x="18" y="36"/>
                  </a:cubicBezTo>
                  <a:cubicBezTo>
                    <a:pt x="56" y="49"/>
                    <a:pt x="91" y="54"/>
                    <a:pt x="122" y="54"/>
                  </a:cubicBezTo>
                  <a:cubicBezTo>
                    <a:pt x="194" y="54"/>
                    <a:pt x="242" y="30"/>
                    <a:pt x="242" y="30"/>
                  </a:cubicBezTo>
                  <a:cubicBezTo>
                    <a:pt x="242" y="30"/>
                    <a:pt x="234" y="11"/>
                    <a:pt x="180" y="3"/>
                  </a:cubicBezTo>
                  <a:cubicBezTo>
                    <a:pt x="179" y="3"/>
                    <a:pt x="178" y="3"/>
                    <a:pt x="178" y="3"/>
                  </a:cubicBezTo>
                  <a:cubicBezTo>
                    <a:pt x="164" y="1"/>
                    <a:pt x="147" y="0"/>
                    <a:pt x="127" y="0"/>
                  </a:cubicBezTo>
                  <a:cubicBezTo>
                    <a:pt x="127" y="0"/>
                    <a:pt x="127" y="0"/>
                    <a:pt x="127" y="0"/>
                  </a:cubicBezTo>
                </a:path>
              </a:pathLst>
            </a:custGeom>
            <a:solidFill>
              <a:srgbClr val="2226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26">
              <a:extLst>
                <a:ext uri="{FF2B5EF4-FFF2-40B4-BE49-F238E27FC236}">
                  <a16:creationId xmlns:a16="http://schemas.microsoft.com/office/drawing/2014/main" id="{85102D2E-A8F0-47B8-A740-BB9A7F7B5E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6" y="763"/>
              <a:ext cx="575" cy="54"/>
            </a:xfrm>
            <a:custGeom>
              <a:avLst/>
              <a:gdLst>
                <a:gd name="T0" fmla="*/ 242 w 242"/>
                <a:gd name="T1" fmla="*/ 0 h 23"/>
                <a:gd name="T2" fmla="*/ 241 w 242"/>
                <a:gd name="T3" fmla="*/ 0 h 23"/>
                <a:gd name="T4" fmla="*/ 240 w 242"/>
                <a:gd name="T5" fmla="*/ 1 h 23"/>
                <a:gd name="T6" fmla="*/ 233 w 242"/>
                <a:gd name="T7" fmla="*/ 3 h 23"/>
                <a:gd name="T8" fmla="*/ 228 w 242"/>
                <a:gd name="T9" fmla="*/ 5 h 23"/>
                <a:gd name="T10" fmla="*/ 222 w 242"/>
                <a:gd name="T11" fmla="*/ 7 h 23"/>
                <a:gd name="T12" fmla="*/ 207 w 242"/>
                <a:gd name="T13" fmla="*/ 11 h 23"/>
                <a:gd name="T14" fmla="*/ 199 w 242"/>
                <a:gd name="T15" fmla="*/ 13 h 23"/>
                <a:gd name="T16" fmla="*/ 190 w 242"/>
                <a:gd name="T17" fmla="*/ 15 h 23"/>
                <a:gd name="T18" fmla="*/ 169 w 242"/>
                <a:gd name="T19" fmla="*/ 19 h 23"/>
                <a:gd name="T20" fmla="*/ 121 w 242"/>
                <a:gd name="T21" fmla="*/ 22 h 23"/>
                <a:gd name="T22" fmla="*/ 73 w 242"/>
                <a:gd name="T23" fmla="*/ 19 h 23"/>
                <a:gd name="T24" fmla="*/ 52 w 242"/>
                <a:gd name="T25" fmla="*/ 15 h 23"/>
                <a:gd name="T26" fmla="*/ 43 w 242"/>
                <a:gd name="T27" fmla="*/ 13 h 23"/>
                <a:gd name="T28" fmla="*/ 34 w 242"/>
                <a:gd name="T29" fmla="*/ 11 h 23"/>
                <a:gd name="T30" fmla="*/ 20 w 242"/>
                <a:gd name="T31" fmla="*/ 7 h 23"/>
                <a:gd name="T32" fmla="*/ 14 w 242"/>
                <a:gd name="T33" fmla="*/ 5 h 23"/>
                <a:gd name="T34" fmla="*/ 9 w 242"/>
                <a:gd name="T35" fmla="*/ 3 h 23"/>
                <a:gd name="T36" fmla="*/ 2 w 242"/>
                <a:gd name="T37" fmla="*/ 1 h 23"/>
                <a:gd name="T38" fmla="*/ 0 w 242"/>
                <a:gd name="T39" fmla="*/ 0 h 23"/>
                <a:gd name="T40" fmla="*/ 0 w 242"/>
                <a:gd name="T41" fmla="*/ 0 h 23"/>
                <a:gd name="T42" fmla="*/ 0 w 242"/>
                <a:gd name="T43" fmla="*/ 0 h 23"/>
                <a:gd name="T44" fmla="*/ 0 w 242"/>
                <a:gd name="T45" fmla="*/ 0 h 23"/>
                <a:gd name="T46" fmla="*/ 4 w 242"/>
                <a:gd name="T47" fmla="*/ 2 h 23"/>
                <a:gd name="T48" fmla="*/ 8 w 242"/>
                <a:gd name="T49" fmla="*/ 3 h 23"/>
                <a:gd name="T50" fmla="*/ 18 w 242"/>
                <a:gd name="T51" fmla="*/ 6 h 23"/>
                <a:gd name="T52" fmla="*/ 20 w 242"/>
                <a:gd name="T53" fmla="*/ 7 h 23"/>
                <a:gd name="T54" fmla="*/ 34 w 242"/>
                <a:gd name="T55" fmla="*/ 11 h 23"/>
                <a:gd name="T56" fmla="*/ 43 w 242"/>
                <a:gd name="T57" fmla="*/ 14 h 23"/>
                <a:gd name="T58" fmla="*/ 52 w 242"/>
                <a:gd name="T59" fmla="*/ 16 h 23"/>
                <a:gd name="T60" fmla="*/ 73 w 242"/>
                <a:gd name="T61" fmla="*/ 19 h 23"/>
                <a:gd name="T62" fmla="*/ 121 w 242"/>
                <a:gd name="T63" fmla="*/ 23 h 23"/>
                <a:gd name="T64" fmla="*/ 169 w 242"/>
                <a:gd name="T65" fmla="*/ 19 h 23"/>
                <a:gd name="T66" fmla="*/ 190 w 242"/>
                <a:gd name="T67" fmla="*/ 16 h 23"/>
                <a:gd name="T68" fmla="*/ 199 w 242"/>
                <a:gd name="T69" fmla="*/ 14 h 23"/>
                <a:gd name="T70" fmla="*/ 208 w 242"/>
                <a:gd name="T71" fmla="*/ 11 h 23"/>
                <a:gd name="T72" fmla="*/ 222 w 242"/>
                <a:gd name="T73" fmla="*/ 7 h 23"/>
                <a:gd name="T74" fmla="*/ 228 w 242"/>
                <a:gd name="T75" fmla="*/ 5 h 23"/>
                <a:gd name="T76" fmla="*/ 233 w 242"/>
                <a:gd name="T77" fmla="*/ 3 h 23"/>
                <a:gd name="T78" fmla="*/ 240 w 242"/>
                <a:gd name="T79" fmla="*/ 1 h 23"/>
                <a:gd name="T80" fmla="*/ 241 w 242"/>
                <a:gd name="T81" fmla="*/ 0 h 23"/>
                <a:gd name="T82" fmla="*/ 242 w 242"/>
                <a:gd name="T83" fmla="*/ 0 h 23"/>
                <a:gd name="T84" fmla="*/ 242 w 242"/>
                <a:gd name="T8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2" h="23">
                  <a:moveTo>
                    <a:pt x="242" y="0"/>
                  </a:moveTo>
                  <a:cubicBezTo>
                    <a:pt x="242" y="0"/>
                    <a:pt x="242" y="0"/>
                    <a:pt x="241" y="0"/>
                  </a:cubicBezTo>
                  <a:cubicBezTo>
                    <a:pt x="241" y="0"/>
                    <a:pt x="240" y="0"/>
                    <a:pt x="240" y="1"/>
                  </a:cubicBezTo>
                  <a:cubicBezTo>
                    <a:pt x="238" y="1"/>
                    <a:pt x="236" y="2"/>
                    <a:pt x="233" y="3"/>
                  </a:cubicBezTo>
                  <a:cubicBezTo>
                    <a:pt x="231" y="3"/>
                    <a:pt x="230" y="4"/>
                    <a:pt x="228" y="5"/>
                  </a:cubicBezTo>
                  <a:cubicBezTo>
                    <a:pt x="226" y="5"/>
                    <a:pt x="224" y="6"/>
                    <a:pt x="222" y="7"/>
                  </a:cubicBezTo>
                  <a:cubicBezTo>
                    <a:pt x="218" y="8"/>
                    <a:pt x="213" y="9"/>
                    <a:pt x="207" y="11"/>
                  </a:cubicBezTo>
                  <a:cubicBezTo>
                    <a:pt x="205" y="11"/>
                    <a:pt x="202" y="12"/>
                    <a:pt x="199" y="13"/>
                  </a:cubicBezTo>
                  <a:cubicBezTo>
                    <a:pt x="196" y="14"/>
                    <a:pt x="193" y="14"/>
                    <a:pt x="190" y="15"/>
                  </a:cubicBezTo>
                  <a:cubicBezTo>
                    <a:pt x="183" y="16"/>
                    <a:pt x="176" y="17"/>
                    <a:pt x="169" y="19"/>
                  </a:cubicBezTo>
                  <a:cubicBezTo>
                    <a:pt x="154" y="21"/>
                    <a:pt x="138" y="22"/>
                    <a:pt x="121" y="22"/>
                  </a:cubicBezTo>
                  <a:cubicBezTo>
                    <a:pt x="104" y="22"/>
                    <a:pt x="87" y="21"/>
                    <a:pt x="73" y="19"/>
                  </a:cubicBezTo>
                  <a:cubicBezTo>
                    <a:pt x="65" y="17"/>
                    <a:pt x="58" y="16"/>
                    <a:pt x="52" y="15"/>
                  </a:cubicBezTo>
                  <a:cubicBezTo>
                    <a:pt x="49" y="14"/>
                    <a:pt x="46" y="14"/>
                    <a:pt x="43" y="13"/>
                  </a:cubicBezTo>
                  <a:cubicBezTo>
                    <a:pt x="40" y="12"/>
                    <a:pt x="37" y="11"/>
                    <a:pt x="34" y="11"/>
                  </a:cubicBezTo>
                  <a:cubicBezTo>
                    <a:pt x="29" y="9"/>
                    <a:pt x="24" y="8"/>
                    <a:pt x="20" y="7"/>
                  </a:cubicBezTo>
                  <a:cubicBezTo>
                    <a:pt x="18" y="6"/>
                    <a:pt x="16" y="5"/>
                    <a:pt x="14" y="5"/>
                  </a:cubicBezTo>
                  <a:cubicBezTo>
                    <a:pt x="12" y="4"/>
                    <a:pt x="10" y="3"/>
                    <a:pt x="9" y="3"/>
                  </a:cubicBezTo>
                  <a:cubicBezTo>
                    <a:pt x="6" y="2"/>
                    <a:pt x="4" y="1"/>
                    <a:pt x="2" y="1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3" y="1"/>
                    <a:pt x="4" y="2"/>
                  </a:cubicBezTo>
                  <a:cubicBezTo>
                    <a:pt x="5" y="2"/>
                    <a:pt x="6" y="2"/>
                    <a:pt x="8" y="3"/>
                  </a:cubicBezTo>
                  <a:cubicBezTo>
                    <a:pt x="11" y="4"/>
                    <a:pt x="14" y="5"/>
                    <a:pt x="18" y="6"/>
                  </a:cubicBezTo>
                  <a:cubicBezTo>
                    <a:pt x="18" y="7"/>
                    <a:pt x="19" y="7"/>
                    <a:pt x="20" y="7"/>
                  </a:cubicBezTo>
                  <a:cubicBezTo>
                    <a:pt x="24" y="8"/>
                    <a:pt x="29" y="10"/>
                    <a:pt x="34" y="11"/>
                  </a:cubicBezTo>
                  <a:cubicBezTo>
                    <a:pt x="37" y="12"/>
                    <a:pt x="40" y="13"/>
                    <a:pt x="43" y="14"/>
                  </a:cubicBezTo>
                  <a:cubicBezTo>
                    <a:pt x="46" y="14"/>
                    <a:pt x="49" y="15"/>
                    <a:pt x="52" y="16"/>
                  </a:cubicBezTo>
                  <a:cubicBezTo>
                    <a:pt x="58" y="17"/>
                    <a:pt x="65" y="18"/>
                    <a:pt x="73" y="19"/>
                  </a:cubicBezTo>
                  <a:cubicBezTo>
                    <a:pt x="87" y="21"/>
                    <a:pt x="104" y="23"/>
                    <a:pt x="121" y="23"/>
                  </a:cubicBezTo>
                  <a:cubicBezTo>
                    <a:pt x="138" y="23"/>
                    <a:pt x="154" y="21"/>
                    <a:pt x="169" y="19"/>
                  </a:cubicBezTo>
                  <a:cubicBezTo>
                    <a:pt x="176" y="18"/>
                    <a:pt x="183" y="17"/>
                    <a:pt x="190" y="16"/>
                  </a:cubicBezTo>
                  <a:cubicBezTo>
                    <a:pt x="193" y="15"/>
                    <a:pt x="196" y="14"/>
                    <a:pt x="199" y="14"/>
                  </a:cubicBezTo>
                  <a:cubicBezTo>
                    <a:pt x="202" y="13"/>
                    <a:pt x="205" y="12"/>
                    <a:pt x="208" y="11"/>
                  </a:cubicBezTo>
                  <a:cubicBezTo>
                    <a:pt x="213" y="10"/>
                    <a:pt x="218" y="8"/>
                    <a:pt x="222" y="7"/>
                  </a:cubicBezTo>
                  <a:cubicBezTo>
                    <a:pt x="224" y="6"/>
                    <a:pt x="226" y="6"/>
                    <a:pt x="228" y="5"/>
                  </a:cubicBezTo>
                  <a:cubicBezTo>
                    <a:pt x="230" y="4"/>
                    <a:pt x="231" y="4"/>
                    <a:pt x="233" y="3"/>
                  </a:cubicBezTo>
                  <a:cubicBezTo>
                    <a:pt x="236" y="2"/>
                    <a:pt x="238" y="1"/>
                    <a:pt x="240" y="1"/>
                  </a:cubicBezTo>
                  <a:cubicBezTo>
                    <a:pt x="240" y="0"/>
                    <a:pt x="241" y="0"/>
                    <a:pt x="241" y="0"/>
                  </a:cubicBezTo>
                  <a:cubicBezTo>
                    <a:pt x="242" y="0"/>
                    <a:pt x="242" y="0"/>
                    <a:pt x="242" y="0"/>
                  </a:cubicBezTo>
                  <a:cubicBezTo>
                    <a:pt x="242" y="0"/>
                    <a:pt x="242" y="0"/>
                    <a:pt x="242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7">
              <a:extLst>
                <a:ext uri="{FF2B5EF4-FFF2-40B4-BE49-F238E27FC236}">
                  <a16:creationId xmlns:a16="http://schemas.microsoft.com/office/drawing/2014/main" id="{55F90105-1AF8-4B14-B7F5-1DB655D5E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5" y="791"/>
              <a:ext cx="78" cy="325"/>
            </a:xfrm>
            <a:custGeom>
              <a:avLst/>
              <a:gdLst>
                <a:gd name="T0" fmla="*/ 33 w 33"/>
                <a:gd name="T1" fmla="*/ 137 h 137"/>
                <a:gd name="T2" fmla="*/ 33 w 33"/>
                <a:gd name="T3" fmla="*/ 137 h 137"/>
                <a:gd name="T4" fmla="*/ 32 w 33"/>
                <a:gd name="T5" fmla="*/ 136 h 137"/>
                <a:gd name="T6" fmla="*/ 30 w 33"/>
                <a:gd name="T7" fmla="*/ 132 h 137"/>
                <a:gd name="T8" fmla="*/ 29 w 33"/>
                <a:gd name="T9" fmla="*/ 129 h 137"/>
                <a:gd name="T10" fmla="*/ 27 w 33"/>
                <a:gd name="T11" fmla="*/ 126 h 137"/>
                <a:gd name="T12" fmla="*/ 24 w 33"/>
                <a:gd name="T13" fmla="*/ 118 h 137"/>
                <a:gd name="T14" fmla="*/ 22 w 33"/>
                <a:gd name="T15" fmla="*/ 114 h 137"/>
                <a:gd name="T16" fmla="*/ 20 w 33"/>
                <a:gd name="T17" fmla="*/ 108 h 137"/>
                <a:gd name="T18" fmla="*/ 16 w 33"/>
                <a:gd name="T19" fmla="*/ 97 h 137"/>
                <a:gd name="T20" fmla="*/ 9 w 33"/>
                <a:gd name="T21" fmla="*/ 70 h 137"/>
                <a:gd name="T22" fmla="*/ 4 w 33"/>
                <a:gd name="T23" fmla="*/ 43 h 137"/>
                <a:gd name="T24" fmla="*/ 2 w 33"/>
                <a:gd name="T25" fmla="*/ 21 h 137"/>
                <a:gd name="T26" fmla="*/ 1 w 33"/>
                <a:gd name="T27" fmla="*/ 12 h 137"/>
                <a:gd name="T28" fmla="*/ 1 w 33"/>
                <a:gd name="T29" fmla="*/ 5 h 137"/>
                <a:gd name="T30" fmla="*/ 0 w 33"/>
                <a:gd name="T31" fmla="*/ 1 h 137"/>
                <a:gd name="T32" fmla="*/ 0 w 33"/>
                <a:gd name="T33" fmla="*/ 0 h 137"/>
                <a:gd name="T34" fmla="*/ 0 w 33"/>
                <a:gd name="T35" fmla="*/ 0 h 137"/>
                <a:gd name="T36" fmla="*/ 0 w 33"/>
                <a:gd name="T37" fmla="*/ 0 h 137"/>
                <a:gd name="T38" fmla="*/ 1 w 33"/>
                <a:gd name="T39" fmla="*/ 1 h 137"/>
                <a:gd name="T40" fmla="*/ 1 w 33"/>
                <a:gd name="T41" fmla="*/ 5 h 137"/>
                <a:gd name="T42" fmla="*/ 1 w 33"/>
                <a:gd name="T43" fmla="*/ 12 h 137"/>
                <a:gd name="T44" fmla="*/ 2 w 33"/>
                <a:gd name="T45" fmla="*/ 20 h 137"/>
                <a:gd name="T46" fmla="*/ 5 w 33"/>
                <a:gd name="T47" fmla="*/ 43 h 137"/>
                <a:gd name="T48" fmla="*/ 10 w 33"/>
                <a:gd name="T49" fmla="*/ 70 h 137"/>
                <a:gd name="T50" fmla="*/ 17 w 33"/>
                <a:gd name="T51" fmla="*/ 97 h 137"/>
                <a:gd name="T52" fmla="*/ 21 w 33"/>
                <a:gd name="T53" fmla="*/ 108 h 137"/>
                <a:gd name="T54" fmla="*/ 23 w 33"/>
                <a:gd name="T55" fmla="*/ 113 h 137"/>
                <a:gd name="T56" fmla="*/ 25 w 33"/>
                <a:gd name="T57" fmla="*/ 118 h 137"/>
                <a:gd name="T58" fmla="*/ 28 w 33"/>
                <a:gd name="T59" fmla="*/ 126 h 137"/>
                <a:gd name="T60" fmla="*/ 29 w 33"/>
                <a:gd name="T61" fmla="*/ 129 h 137"/>
                <a:gd name="T62" fmla="*/ 31 w 33"/>
                <a:gd name="T63" fmla="*/ 132 h 137"/>
                <a:gd name="T64" fmla="*/ 32 w 33"/>
                <a:gd name="T65" fmla="*/ 136 h 137"/>
                <a:gd name="T66" fmla="*/ 33 w 33"/>
                <a:gd name="T67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137">
                  <a:moveTo>
                    <a:pt x="33" y="137"/>
                  </a:moveTo>
                  <a:cubicBezTo>
                    <a:pt x="33" y="137"/>
                    <a:pt x="33" y="137"/>
                    <a:pt x="33" y="137"/>
                  </a:cubicBezTo>
                  <a:cubicBezTo>
                    <a:pt x="33" y="136"/>
                    <a:pt x="32" y="136"/>
                    <a:pt x="32" y="136"/>
                  </a:cubicBezTo>
                  <a:cubicBezTo>
                    <a:pt x="32" y="135"/>
                    <a:pt x="31" y="134"/>
                    <a:pt x="30" y="132"/>
                  </a:cubicBezTo>
                  <a:cubicBezTo>
                    <a:pt x="30" y="131"/>
                    <a:pt x="29" y="130"/>
                    <a:pt x="29" y="129"/>
                  </a:cubicBezTo>
                  <a:cubicBezTo>
                    <a:pt x="28" y="128"/>
                    <a:pt x="28" y="127"/>
                    <a:pt x="27" y="126"/>
                  </a:cubicBezTo>
                  <a:cubicBezTo>
                    <a:pt x="26" y="124"/>
                    <a:pt x="25" y="121"/>
                    <a:pt x="24" y="118"/>
                  </a:cubicBezTo>
                  <a:cubicBezTo>
                    <a:pt x="23" y="117"/>
                    <a:pt x="23" y="115"/>
                    <a:pt x="22" y="114"/>
                  </a:cubicBezTo>
                  <a:cubicBezTo>
                    <a:pt x="21" y="112"/>
                    <a:pt x="21" y="110"/>
                    <a:pt x="20" y="108"/>
                  </a:cubicBezTo>
                  <a:cubicBezTo>
                    <a:pt x="19" y="105"/>
                    <a:pt x="18" y="101"/>
                    <a:pt x="16" y="97"/>
                  </a:cubicBezTo>
                  <a:cubicBezTo>
                    <a:pt x="14" y="89"/>
                    <a:pt x="11" y="80"/>
                    <a:pt x="9" y="70"/>
                  </a:cubicBezTo>
                  <a:cubicBezTo>
                    <a:pt x="7" y="61"/>
                    <a:pt x="5" y="51"/>
                    <a:pt x="4" y="43"/>
                  </a:cubicBezTo>
                  <a:cubicBezTo>
                    <a:pt x="3" y="35"/>
                    <a:pt x="2" y="27"/>
                    <a:pt x="2" y="21"/>
                  </a:cubicBezTo>
                  <a:cubicBezTo>
                    <a:pt x="1" y="17"/>
                    <a:pt x="1" y="14"/>
                    <a:pt x="1" y="12"/>
                  </a:cubicBezTo>
                  <a:cubicBezTo>
                    <a:pt x="1" y="9"/>
                    <a:pt x="1" y="7"/>
                    <a:pt x="1" y="5"/>
                  </a:cubicBezTo>
                  <a:cubicBezTo>
                    <a:pt x="0" y="4"/>
                    <a:pt x="0" y="2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1" y="1"/>
                  </a:cubicBezTo>
                  <a:cubicBezTo>
                    <a:pt x="1" y="2"/>
                    <a:pt x="1" y="4"/>
                    <a:pt x="1" y="5"/>
                  </a:cubicBezTo>
                  <a:cubicBezTo>
                    <a:pt x="1" y="7"/>
                    <a:pt x="1" y="9"/>
                    <a:pt x="1" y="12"/>
                  </a:cubicBezTo>
                  <a:cubicBezTo>
                    <a:pt x="2" y="14"/>
                    <a:pt x="2" y="17"/>
                    <a:pt x="2" y="20"/>
                  </a:cubicBezTo>
                  <a:cubicBezTo>
                    <a:pt x="3" y="27"/>
                    <a:pt x="4" y="34"/>
                    <a:pt x="5" y="43"/>
                  </a:cubicBezTo>
                  <a:cubicBezTo>
                    <a:pt x="6" y="51"/>
                    <a:pt x="8" y="60"/>
                    <a:pt x="10" y="70"/>
                  </a:cubicBezTo>
                  <a:cubicBezTo>
                    <a:pt x="12" y="80"/>
                    <a:pt x="15" y="89"/>
                    <a:pt x="17" y="97"/>
                  </a:cubicBezTo>
                  <a:cubicBezTo>
                    <a:pt x="18" y="101"/>
                    <a:pt x="19" y="105"/>
                    <a:pt x="21" y="108"/>
                  </a:cubicBezTo>
                  <a:cubicBezTo>
                    <a:pt x="21" y="110"/>
                    <a:pt x="22" y="112"/>
                    <a:pt x="23" y="113"/>
                  </a:cubicBezTo>
                  <a:cubicBezTo>
                    <a:pt x="23" y="115"/>
                    <a:pt x="24" y="116"/>
                    <a:pt x="25" y="118"/>
                  </a:cubicBezTo>
                  <a:cubicBezTo>
                    <a:pt x="26" y="121"/>
                    <a:pt x="27" y="124"/>
                    <a:pt x="28" y="126"/>
                  </a:cubicBezTo>
                  <a:cubicBezTo>
                    <a:pt x="28" y="127"/>
                    <a:pt x="29" y="128"/>
                    <a:pt x="29" y="129"/>
                  </a:cubicBezTo>
                  <a:cubicBezTo>
                    <a:pt x="30" y="130"/>
                    <a:pt x="30" y="131"/>
                    <a:pt x="31" y="132"/>
                  </a:cubicBezTo>
                  <a:cubicBezTo>
                    <a:pt x="31" y="133"/>
                    <a:pt x="32" y="135"/>
                    <a:pt x="32" y="136"/>
                  </a:cubicBezTo>
                  <a:cubicBezTo>
                    <a:pt x="33" y="136"/>
                    <a:pt x="33" y="136"/>
                    <a:pt x="33" y="13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8">
              <a:extLst>
                <a:ext uri="{FF2B5EF4-FFF2-40B4-BE49-F238E27FC236}">
                  <a16:creationId xmlns:a16="http://schemas.microsoft.com/office/drawing/2014/main" id="{73D564B0-937E-4B11-B39C-C22E413AA9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9" y="1173"/>
              <a:ext cx="90" cy="62"/>
            </a:xfrm>
            <a:custGeom>
              <a:avLst/>
              <a:gdLst>
                <a:gd name="T0" fmla="*/ 38 w 38"/>
                <a:gd name="T1" fmla="*/ 26 h 26"/>
                <a:gd name="T2" fmla="*/ 36 w 38"/>
                <a:gd name="T3" fmla="*/ 26 h 26"/>
                <a:gd name="T4" fmla="*/ 31 w 38"/>
                <a:gd name="T5" fmla="*/ 25 h 26"/>
                <a:gd name="T6" fmla="*/ 24 w 38"/>
                <a:gd name="T7" fmla="*/ 22 h 26"/>
                <a:gd name="T8" fmla="*/ 16 w 38"/>
                <a:gd name="T9" fmla="*/ 17 h 26"/>
                <a:gd name="T10" fmla="*/ 8 w 38"/>
                <a:gd name="T11" fmla="*/ 11 h 26"/>
                <a:gd name="T12" fmla="*/ 3 w 38"/>
                <a:gd name="T13" fmla="*/ 6 h 26"/>
                <a:gd name="T14" fmla="*/ 1 w 38"/>
                <a:gd name="T15" fmla="*/ 1 h 26"/>
                <a:gd name="T16" fmla="*/ 0 w 38"/>
                <a:gd name="T17" fmla="*/ 0 h 26"/>
                <a:gd name="T18" fmla="*/ 4 w 38"/>
                <a:gd name="T19" fmla="*/ 5 h 26"/>
                <a:gd name="T20" fmla="*/ 9 w 38"/>
                <a:gd name="T21" fmla="*/ 11 h 26"/>
                <a:gd name="T22" fmla="*/ 16 w 38"/>
                <a:gd name="T23" fmla="*/ 17 h 26"/>
                <a:gd name="T24" fmla="*/ 24 w 38"/>
                <a:gd name="T25" fmla="*/ 21 h 26"/>
                <a:gd name="T26" fmla="*/ 31 w 38"/>
                <a:gd name="T27" fmla="*/ 24 h 26"/>
                <a:gd name="T28" fmla="*/ 38 w 38"/>
                <a:gd name="T2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" h="26">
                  <a:moveTo>
                    <a:pt x="38" y="26"/>
                  </a:moveTo>
                  <a:cubicBezTo>
                    <a:pt x="38" y="26"/>
                    <a:pt x="37" y="26"/>
                    <a:pt x="36" y="26"/>
                  </a:cubicBezTo>
                  <a:cubicBezTo>
                    <a:pt x="35" y="26"/>
                    <a:pt x="33" y="25"/>
                    <a:pt x="31" y="25"/>
                  </a:cubicBezTo>
                  <a:cubicBezTo>
                    <a:pt x="29" y="24"/>
                    <a:pt x="26" y="23"/>
                    <a:pt x="24" y="22"/>
                  </a:cubicBezTo>
                  <a:cubicBezTo>
                    <a:pt x="21" y="21"/>
                    <a:pt x="18" y="19"/>
                    <a:pt x="16" y="17"/>
                  </a:cubicBezTo>
                  <a:cubicBezTo>
                    <a:pt x="13" y="16"/>
                    <a:pt x="10" y="13"/>
                    <a:pt x="8" y="11"/>
                  </a:cubicBezTo>
                  <a:cubicBezTo>
                    <a:pt x="6" y="9"/>
                    <a:pt x="5" y="7"/>
                    <a:pt x="3" y="6"/>
                  </a:cubicBezTo>
                  <a:cubicBezTo>
                    <a:pt x="2" y="4"/>
                    <a:pt x="1" y="2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2"/>
                    <a:pt x="4" y="5"/>
                  </a:cubicBezTo>
                  <a:cubicBezTo>
                    <a:pt x="5" y="7"/>
                    <a:pt x="7" y="9"/>
                    <a:pt x="9" y="11"/>
                  </a:cubicBezTo>
                  <a:cubicBezTo>
                    <a:pt x="11" y="13"/>
                    <a:pt x="13" y="15"/>
                    <a:pt x="16" y="17"/>
                  </a:cubicBezTo>
                  <a:cubicBezTo>
                    <a:pt x="19" y="19"/>
                    <a:pt x="21" y="20"/>
                    <a:pt x="24" y="21"/>
                  </a:cubicBezTo>
                  <a:cubicBezTo>
                    <a:pt x="27" y="23"/>
                    <a:pt x="29" y="24"/>
                    <a:pt x="31" y="24"/>
                  </a:cubicBezTo>
                  <a:cubicBezTo>
                    <a:pt x="35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9">
              <a:extLst>
                <a:ext uri="{FF2B5EF4-FFF2-40B4-BE49-F238E27FC236}">
                  <a16:creationId xmlns:a16="http://schemas.microsoft.com/office/drawing/2014/main" id="{502244E5-BE65-4336-8328-C3D5E4CA1E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0" y="877"/>
              <a:ext cx="116" cy="185"/>
            </a:xfrm>
            <a:custGeom>
              <a:avLst/>
              <a:gdLst>
                <a:gd name="T0" fmla="*/ 49 w 49"/>
                <a:gd name="T1" fmla="*/ 77 h 78"/>
                <a:gd name="T2" fmla="*/ 48 w 49"/>
                <a:gd name="T3" fmla="*/ 78 h 78"/>
                <a:gd name="T4" fmla="*/ 45 w 49"/>
                <a:gd name="T5" fmla="*/ 78 h 78"/>
                <a:gd name="T6" fmla="*/ 33 w 49"/>
                <a:gd name="T7" fmla="*/ 76 h 78"/>
                <a:gd name="T8" fmla="*/ 25 w 49"/>
                <a:gd name="T9" fmla="*/ 73 h 78"/>
                <a:gd name="T10" fmla="*/ 18 w 49"/>
                <a:gd name="T11" fmla="*/ 68 h 78"/>
                <a:gd name="T12" fmla="*/ 4 w 49"/>
                <a:gd name="T13" fmla="*/ 51 h 78"/>
                <a:gd name="T14" fmla="*/ 1 w 49"/>
                <a:gd name="T15" fmla="*/ 29 h 78"/>
                <a:gd name="T16" fmla="*/ 3 w 49"/>
                <a:gd name="T17" fmla="*/ 20 h 78"/>
                <a:gd name="T18" fmla="*/ 6 w 49"/>
                <a:gd name="T19" fmla="*/ 12 h 78"/>
                <a:gd name="T20" fmla="*/ 12 w 49"/>
                <a:gd name="T21" fmla="*/ 3 h 78"/>
                <a:gd name="T22" fmla="*/ 14 w 49"/>
                <a:gd name="T23" fmla="*/ 0 h 78"/>
                <a:gd name="T24" fmla="*/ 15 w 49"/>
                <a:gd name="T25" fmla="*/ 0 h 78"/>
                <a:gd name="T26" fmla="*/ 12 w 49"/>
                <a:gd name="T27" fmla="*/ 3 h 78"/>
                <a:gd name="T28" fmla="*/ 6 w 49"/>
                <a:gd name="T29" fmla="*/ 13 h 78"/>
                <a:gd name="T30" fmla="*/ 3 w 49"/>
                <a:gd name="T31" fmla="*/ 20 h 78"/>
                <a:gd name="T32" fmla="*/ 2 w 49"/>
                <a:gd name="T33" fmla="*/ 29 h 78"/>
                <a:gd name="T34" fmla="*/ 5 w 49"/>
                <a:gd name="T35" fmla="*/ 50 h 78"/>
                <a:gd name="T36" fmla="*/ 18 w 49"/>
                <a:gd name="T37" fmla="*/ 67 h 78"/>
                <a:gd name="T38" fmla="*/ 26 w 49"/>
                <a:gd name="T39" fmla="*/ 72 h 78"/>
                <a:gd name="T40" fmla="*/ 33 w 49"/>
                <a:gd name="T41" fmla="*/ 75 h 78"/>
                <a:gd name="T42" fmla="*/ 45 w 49"/>
                <a:gd name="T43" fmla="*/ 77 h 78"/>
                <a:gd name="T44" fmla="*/ 49 w 49"/>
                <a:gd name="T45" fmla="*/ 77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9" h="78">
                  <a:moveTo>
                    <a:pt x="49" y="77"/>
                  </a:moveTo>
                  <a:cubicBezTo>
                    <a:pt x="49" y="77"/>
                    <a:pt x="49" y="77"/>
                    <a:pt x="48" y="78"/>
                  </a:cubicBezTo>
                  <a:cubicBezTo>
                    <a:pt x="47" y="78"/>
                    <a:pt x="46" y="78"/>
                    <a:pt x="45" y="78"/>
                  </a:cubicBezTo>
                  <a:cubicBezTo>
                    <a:pt x="42" y="78"/>
                    <a:pt x="38" y="77"/>
                    <a:pt x="33" y="76"/>
                  </a:cubicBezTo>
                  <a:cubicBezTo>
                    <a:pt x="31" y="75"/>
                    <a:pt x="28" y="74"/>
                    <a:pt x="25" y="73"/>
                  </a:cubicBezTo>
                  <a:cubicBezTo>
                    <a:pt x="23" y="71"/>
                    <a:pt x="20" y="70"/>
                    <a:pt x="18" y="68"/>
                  </a:cubicBezTo>
                  <a:cubicBezTo>
                    <a:pt x="12" y="63"/>
                    <a:pt x="7" y="58"/>
                    <a:pt x="4" y="51"/>
                  </a:cubicBezTo>
                  <a:cubicBezTo>
                    <a:pt x="1" y="43"/>
                    <a:pt x="0" y="36"/>
                    <a:pt x="1" y="29"/>
                  </a:cubicBezTo>
                  <a:cubicBezTo>
                    <a:pt x="1" y="26"/>
                    <a:pt x="2" y="23"/>
                    <a:pt x="3" y="20"/>
                  </a:cubicBezTo>
                  <a:cubicBezTo>
                    <a:pt x="3" y="17"/>
                    <a:pt x="4" y="15"/>
                    <a:pt x="6" y="12"/>
                  </a:cubicBezTo>
                  <a:cubicBezTo>
                    <a:pt x="8" y="8"/>
                    <a:pt x="10" y="5"/>
                    <a:pt x="12" y="3"/>
                  </a:cubicBezTo>
                  <a:cubicBezTo>
                    <a:pt x="13" y="1"/>
                    <a:pt x="14" y="1"/>
                    <a:pt x="1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4" y="1"/>
                    <a:pt x="12" y="3"/>
                  </a:cubicBezTo>
                  <a:cubicBezTo>
                    <a:pt x="11" y="5"/>
                    <a:pt x="8" y="8"/>
                    <a:pt x="6" y="13"/>
                  </a:cubicBezTo>
                  <a:cubicBezTo>
                    <a:pt x="5" y="15"/>
                    <a:pt x="4" y="17"/>
                    <a:pt x="3" y="20"/>
                  </a:cubicBezTo>
                  <a:cubicBezTo>
                    <a:pt x="3" y="23"/>
                    <a:pt x="2" y="26"/>
                    <a:pt x="2" y="29"/>
                  </a:cubicBezTo>
                  <a:cubicBezTo>
                    <a:pt x="1" y="36"/>
                    <a:pt x="2" y="43"/>
                    <a:pt x="5" y="50"/>
                  </a:cubicBezTo>
                  <a:cubicBezTo>
                    <a:pt x="8" y="57"/>
                    <a:pt x="13" y="63"/>
                    <a:pt x="18" y="67"/>
                  </a:cubicBezTo>
                  <a:cubicBezTo>
                    <a:pt x="21" y="69"/>
                    <a:pt x="23" y="71"/>
                    <a:pt x="26" y="72"/>
                  </a:cubicBezTo>
                  <a:cubicBezTo>
                    <a:pt x="28" y="73"/>
                    <a:pt x="31" y="74"/>
                    <a:pt x="33" y="75"/>
                  </a:cubicBezTo>
                  <a:cubicBezTo>
                    <a:pt x="38" y="77"/>
                    <a:pt x="42" y="77"/>
                    <a:pt x="45" y="77"/>
                  </a:cubicBezTo>
                  <a:cubicBezTo>
                    <a:pt x="48" y="77"/>
                    <a:pt x="49" y="77"/>
                    <a:pt x="49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30">
              <a:extLst>
                <a:ext uri="{FF2B5EF4-FFF2-40B4-BE49-F238E27FC236}">
                  <a16:creationId xmlns:a16="http://schemas.microsoft.com/office/drawing/2014/main" id="{85CC61D6-D8C8-4DFE-8824-B3D71D9FEA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3" y="240"/>
              <a:ext cx="632" cy="435"/>
            </a:xfrm>
            <a:custGeom>
              <a:avLst/>
              <a:gdLst>
                <a:gd name="T0" fmla="*/ 135 w 266"/>
                <a:gd name="T1" fmla="*/ 2 h 183"/>
                <a:gd name="T2" fmla="*/ 16 w 266"/>
                <a:gd name="T3" fmla="*/ 90 h 183"/>
                <a:gd name="T4" fmla="*/ 112 w 266"/>
                <a:gd name="T5" fmla="*/ 182 h 183"/>
                <a:gd name="T6" fmla="*/ 169 w 266"/>
                <a:gd name="T7" fmla="*/ 182 h 183"/>
                <a:gd name="T8" fmla="*/ 260 w 266"/>
                <a:gd name="T9" fmla="*/ 128 h 183"/>
                <a:gd name="T10" fmla="*/ 263 w 266"/>
                <a:gd name="T11" fmla="*/ 113 h 183"/>
                <a:gd name="T12" fmla="*/ 135 w 266"/>
                <a:gd name="T13" fmla="*/ 2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6" h="183">
                  <a:moveTo>
                    <a:pt x="135" y="2"/>
                  </a:moveTo>
                  <a:cubicBezTo>
                    <a:pt x="135" y="2"/>
                    <a:pt x="33" y="1"/>
                    <a:pt x="16" y="90"/>
                  </a:cubicBezTo>
                  <a:cubicBezTo>
                    <a:pt x="0" y="178"/>
                    <a:pt x="87" y="180"/>
                    <a:pt x="112" y="182"/>
                  </a:cubicBezTo>
                  <a:cubicBezTo>
                    <a:pt x="123" y="183"/>
                    <a:pt x="147" y="183"/>
                    <a:pt x="169" y="182"/>
                  </a:cubicBezTo>
                  <a:cubicBezTo>
                    <a:pt x="216" y="181"/>
                    <a:pt x="249" y="172"/>
                    <a:pt x="260" y="128"/>
                  </a:cubicBezTo>
                  <a:cubicBezTo>
                    <a:pt x="262" y="123"/>
                    <a:pt x="263" y="118"/>
                    <a:pt x="263" y="113"/>
                  </a:cubicBezTo>
                  <a:cubicBezTo>
                    <a:pt x="266" y="65"/>
                    <a:pt x="234" y="0"/>
                    <a:pt x="135" y="2"/>
                  </a:cubicBezTo>
                  <a:close/>
                </a:path>
              </a:pathLst>
            </a:custGeom>
            <a:solidFill>
              <a:srgbClr val="3037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31">
              <a:extLst>
                <a:ext uri="{FF2B5EF4-FFF2-40B4-BE49-F238E27FC236}">
                  <a16:creationId xmlns:a16="http://schemas.microsoft.com/office/drawing/2014/main" id="{CD1BF0DD-A90B-4F00-88B3-7A3607E7A0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9" y="433"/>
              <a:ext cx="488" cy="140"/>
            </a:xfrm>
            <a:custGeom>
              <a:avLst/>
              <a:gdLst>
                <a:gd name="T0" fmla="*/ 177 w 205"/>
                <a:gd name="T1" fmla="*/ 56 h 59"/>
                <a:gd name="T2" fmla="*/ 29 w 205"/>
                <a:gd name="T3" fmla="*/ 59 h 59"/>
                <a:gd name="T4" fmla="*/ 0 w 205"/>
                <a:gd name="T5" fmla="*/ 31 h 59"/>
                <a:gd name="T6" fmla="*/ 28 w 205"/>
                <a:gd name="T7" fmla="*/ 2 h 59"/>
                <a:gd name="T8" fmla="*/ 176 w 205"/>
                <a:gd name="T9" fmla="*/ 0 h 59"/>
                <a:gd name="T10" fmla="*/ 205 w 205"/>
                <a:gd name="T11" fmla="*/ 28 h 59"/>
                <a:gd name="T12" fmla="*/ 177 w 205"/>
                <a:gd name="T13" fmla="*/ 56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5" h="59">
                  <a:moveTo>
                    <a:pt x="177" y="56"/>
                  </a:moveTo>
                  <a:cubicBezTo>
                    <a:pt x="29" y="59"/>
                    <a:pt x="29" y="59"/>
                    <a:pt x="29" y="59"/>
                  </a:cubicBezTo>
                  <a:cubicBezTo>
                    <a:pt x="13" y="59"/>
                    <a:pt x="0" y="46"/>
                    <a:pt x="0" y="31"/>
                  </a:cubicBezTo>
                  <a:cubicBezTo>
                    <a:pt x="0" y="15"/>
                    <a:pt x="12" y="2"/>
                    <a:pt x="28" y="2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92" y="0"/>
                    <a:pt x="205" y="12"/>
                    <a:pt x="205" y="28"/>
                  </a:cubicBezTo>
                  <a:cubicBezTo>
                    <a:pt x="205" y="43"/>
                    <a:pt x="193" y="56"/>
                    <a:pt x="177" y="5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34">
              <a:extLst>
                <a:ext uri="{FF2B5EF4-FFF2-40B4-BE49-F238E27FC236}">
                  <a16:creationId xmlns:a16="http://schemas.microsoft.com/office/drawing/2014/main" id="{BC195843-527C-4FE4-B96E-7A66344942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9" y="490"/>
              <a:ext cx="86" cy="52"/>
            </a:xfrm>
            <a:custGeom>
              <a:avLst/>
              <a:gdLst>
                <a:gd name="T0" fmla="*/ 1 w 36"/>
                <a:gd name="T1" fmla="*/ 0 h 22"/>
                <a:gd name="T2" fmla="*/ 4 w 36"/>
                <a:gd name="T3" fmla="*/ 7 h 22"/>
                <a:gd name="T4" fmla="*/ 9 w 36"/>
                <a:gd name="T5" fmla="*/ 13 h 22"/>
                <a:gd name="T6" fmla="*/ 17 w 36"/>
                <a:gd name="T7" fmla="*/ 17 h 22"/>
                <a:gd name="T8" fmla="*/ 26 w 36"/>
                <a:gd name="T9" fmla="*/ 15 h 22"/>
                <a:gd name="T10" fmla="*/ 32 w 36"/>
                <a:gd name="T11" fmla="*/ 10 h 22"/>
                <a:gd name="T12" fmla="*/ 36 w 36"/>
                <a:gd name="T13" fmla="*/ 3 h 22"/>
                <a:gd name="T14" fmla="*/ 36 w 36"/>
                <a:gd name="T15" fmla="*/ 5 h 22"/>
                <a:gd name="T16" fmla="*/ 35 w 36"/>
                <a:gd name="T17" fmla="*/ 11 h 22"/>
                <a:gd name="T18" fmla="*/ 28 w 36"/>
                <a:gd name="T19" fmla="*/ 18 h 22"/>
                <a:gd name="T20" fmla="*/ 17 w 36"/>
                <a:gd name="T21" fmla="*/ 21 h 22"/>
                <a:gd name="T22" fmla="*/ 6 w 36"/>
                <a:gd name="T23" fmla="*/ 16 h 22"/>
                <a:gd name="T24" fmla="*/ 1 w 36"/>
                <a:gd name="T25" fmla="*/ 8 h 22"/>
                <a:gd name="T26" fmla="*/ 1 w 36"/>
                <a:gd name="T27" fmla="*/ 2 h 22"/>
                <a:gd name="T28" fmla="*/ 1 w 36"/>
                <a:gd name="T2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22">
                  <a:moveTo>
                    <a:pt x="1" y="0"/>
                  </a:moveTo>
                  <a:cubicBezTo>
                    <a:pt x="2" y="0"/>
                    <a:pt x="2" y="3"/>
                    <a:pt x="4" y="7"/>
                  </a:cubicBezTo>
                  <a:cubicBezTo>
                    <a:pt x="5" y="9"/>
                    <a:pt x="6" y="11"/>
                    <a:pt x="9" y="13"/>
                  </a:cubicBezTo>
                  <a:cubicBezTo>
                    <a:pt x="11" y="15"/>
                    <a:pt x="14" y="17"/>
                    <a:pt x="17" y="17"/>
                  </a:cubicBezTo>
                  <a:cubicBezTo>
                    <a:pt x="20" y="17"/>
                    <a:pt x="24" y="16"/>
                    <a:pt x="26" y="15"/>
                  </a:cubicBezTo>
                  <a:cubicBezTo>
                    <a:pt x="29" y="13"/>
                    <a:pt x="31" y="12"/>
                    <a:pt x="32" y="10"/>
                  </a:cubicBezTo>
                  <a:cubicBezTo>
                    <a:pt x="35" y="6"/>
                    <a:pt x="35" y="3"/>
                    <a:pt x="36" y="3"/>
                  </a:cubicBezTo>
                  <a:cubicBezTo>
                    <a:pt x="36" y="3"/>
                    <a:pt x="36" y="4"/>
                    <a:pt x="36" y="5"/>
                  </a:cubicBezTo>
                  <a:cubicBezTo>
                    <a:pt x="36" y="7"/>
                    <a:pt x="36" y="9"/>
                    <a:pt x="35" y="11"/>
                  </a:cubicBezTo>
                  <a:cubicBezTo>
                    <a:pt x="33" y="14"/>
                    <a:pt x="31" y="16"/>
                    <a:pt x="28" y="18"/>
                  </a:cubicBezTo>
                  <a:cubicBezTo>
                    <a:pt x="25" y="20"/>
                    <a:pt x="21" y="22"/>
                    <a:pt x="17" y="21"/>
                  </a:cubicBezTo>
                  <a:cubicBezTo>
                    <a:pt x="12" y="21"/>
                    <a:pt x="9" y="19"/>
                    <a:pt x="6" y="16"/>
                  </a:cubicBezTo>
                  <a:cubicBezTo>
                    <a:pt x="3" y="14"/>
                    <a:pt x="2" y="11"/>
                    <a:pt x="1" y="8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35">
              <a:extLst>
                <a:ext uri="{FF2B5EF4-FFF2-40B4-BE49-F238E27FC236}">
                  <a16:creationId xmlns:a16="http://schemas.microsoft.com/office/drawing/2014/main" id="{83818120-3F06-4C8D-B8AC-688C51A7BE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8" y="262"/>
              <a:ext cx="245" cy="202"/>
            </a:xfrm>
            <a:custGeom>
              <a:avLst/>
              <a:gdLst>
                <a:gd name="T0" fmla="*/ 103 w 103"/>
                <a:gd name="T1" fmla="*/ 0 h 85"/>
                <a:gd name="T2" fmla="*/ 103 w 103"/>
                <a:gd name="T3" fmla="*/ 0 h 85"/>
                <a:gd name="T4" fmla="*/ 102 w 103"/>
                <a:gd name="T5" fmla="*/ 0 h 85"/>
                <a:gd name="T6" fmla="*/ 97 w 103"/>
                <a:gd name="T7" fmla="*/ 0 h 85"/>
                <a:gd name="T8" fmla="*/ 82 w 103"/>
                <a:gd name="T9" fmla="*/ 3 h 85"/>
                <a:gd name="T10" fmla="*/ 61 w 103"/>
                <a:gd name="T11" fmla="*/ 10 h 85"/>
                <a:gd name="T12" fmla="*/ 37 w 103"/>
                <a:gd name="T13" fmla="*/ 25 h 85"/>
                <a:gd name="T14" fmla="*/ 18 w 103"/>
                <a:gd name="T15" fmla="*/ 45 h 85"/>
                <a:gd name="T16" fmla="*/ 7 w 103"/>
                <a:gd name="T17" fmla="*/ 65 h 85"/>
                <a:gd name="T18" fmla="*/ 2 w 103"/>
                <a:gd name="T19" fmla="*/ 79 h 85"/>
                <a:gd name="T20" fmla="*/ 1 w 103"/>
                <a:gd name="T21" fmla="*/ 83 h 85"/>
                <a:gd name="T22" fmla="*/ 0 w 103"/>
                <a:gd name="T23" fmla="*/ 84 h 85"/>
                <a:gd name="T24" fmla="*/ 0 w 103"/>
                <a:gd name="T25" fmla="*/ 85 h 85"/>
                <a:gd name="T26" fmla="*/ 0 w 103"/>
                <a:gd name="T27" fmla="*/ 84 h 85"/>
                <a:gd name="T28" fmla="*/ 1 w 103"/>
                <a:gd name="T29" fmla="*/ 83 h 85"/>
                <a:gd name="T30" fmla="*/ 1 w 103"/>
                <a:gd name="T31" fmla="*/ 79 h 85"/>
                <a:gd name="T32" fmla="*/ 7 w 103"/>
                <a:gd name="T33" fmla="*/ 65 h 85"/>
                <a:gd name="T34" fmla="*/ 18 w 103"/>
                <a:gd name="T35" fmla="*/ 45 h 85"/>
                <a:gd name="T36" fmla="*/ 37 w 103"/>
                <a:gd name="T37" fmla="*/ 24 h 85"/>
                <a:gd name="T38" fmla="*/ 61 w 103"/>
                <a:gd name="T39" fmla="*/ 10 h 85"/>
                <a:gd name="T40" fmla="*/ 82 w 103"/>
                <a:gd name="T41" fmla="*/ 2 h 85"/>
                <a:gd name="T42" fmla="*/ 97 w 103"/>
                <a:gd name="T43" fmla="*/ 0 h 85"/>
                <a:gd name="T44" fmla="*/ 102 w 103"/>
                <a:gd name="T45" fmla="*/ 0 h 85"/>
                <a:gd name="T46" fmla="*/ 103 w 103"/>
                <a:gd name="T47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3" h="85">
                  <a:moveTo>
                    <a:pt x="103" y="0"/>
                  </a:moveTo>
                  <a:cubicBezTo>
                    <a:pt x="103" y="0"/>
                    <a:pt x="103" y="0"/>
                    <a:pt x="103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1" y="0"/>
                    <a:pt x="99" y="0"/>
                    <a:pt x="97" y="0"/>
                  </a:cubicBezTo>
                  <a:cubicBezTo>
                    <a:pt x="94" y="1"/>
                    <a:pt x="89" y="1"/>
                    <a:pt x="82" y="3"/>
                  </a:cubicBezTo>
                  <a:cubicBezTo>
                    <a:pt x="76" y="4"/>
                    <a:pt x="69" y="7"/>
                    <a:pt x="61" y="10"/>
                  </a:cubicBezTo>
                  <a:cubicBezTo>
                    <a:pt x="53" y="14"/>
                    <a:pt x="45" y="19"/>
                    <a:pt x="37" y="25"/>
                  </a:cubicBezTo>
                  <a:cubicBezTo>
                    <a:pt x="30" y="31"/>
                    <a:pt x="23" y="38"/>
                    <a:pt x="18" y="45"/>
                  </a:cubicBezTo>
                  <a:cubicBezTo>
                    <a:pt x="13" y="52"/>
                    <a:pt x="10" y="59"/>
                    <a:pt x="7" y="65"/>
                  </a:cubicBezTo>
                  <a:cubicBezTo>
                    <a:pt x="4" y="71"/>
                    <a:pt x="3" y="76"/>
                    <a:pt x="2" y="79"/>
                  </a:cubicBezTo>
                  <a:cubicBezTo>
                    <a:pt x="1" y="81"/>
                    <a:pt x="1" y="82"/>
                    <a:pt x="1" y="83"/>
                  </a:cubicBezTo>
                  <a:cubicBezTo>
                    <a:pt x="1" y="84"/>
                    <a:pt x="0" y="84"/>
                    <a:pt x="0" y="84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84"/>
                    <a:pt x="0" y="84"/>
                    <a:pt x="1" y="83"/>
                  </a:cubicBezTo>
                  <a:cubicBezTo>
                    <a:pt x="1" y="82"/>
                    <a:pt x="1" y="81"/>
                    <a:pt x="1" y="79"/>
                  </a:cubicBezTo>
                  <a:cubicBezTo>
                    <a:pt x="2" y="76"/>
                    <a:pt x="4" y="71"/>
                    <a:pt x="7" y="65"/>
                  </a:cubicBezTo>
                  <a:cubicBezTo>
                    <a:pt x="9" y="59"/>
                    <a:pt x="13" y="52"/>
                    <a:pt x="18" y="45"/>
                  </a:cubicBezTo>
                  <a:cubicBezTo>
                    <a:pt x="23" y="38"/>
                    <a:pt x="29" y="31"/>
                    <a:pt x="37" y="24"/>
                  </a:cubicBezTo>
                  <a:cubicBezTo>
                    <a:pt x="45" y="18"/>
                    <a:pt x="53" y="13"/>
                    <a:pt x="61" y="10"/>
                  </a:cubicBezTo>
                  <a:cubicBezTo>
                    <a:pt x="68" y="6"/>
                    <a:pt x="76" y="4"/>
                    <a:pt x="82" y="2"/>
                  </a:cubicBezTo>
                  <a:cubicBezTo>
                    <a:pt x="89" y="1"/>
                    <a:pt x="94" y="0"/>
                    <a:pt x="97" y="0"/>
                  </a:cubicBezTo>
                  <a:cubicBezTo>
                    <a:pt x="99" y="0"/>
                    <a:pt x="101" y="0"/>
                    <a:pt x="102" y="0"/>
                  </a:cubicBezTo>
                  <a:cubicBezTo>
                    <a:pt x="102" y="0"/>
                    <a:pt x="102" y="0"/>
                    <a:pt x="10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36">
              <a:extLst>
                <a:ext uri="{FF2B5EF4-FFF2-40B4-BE49-F238E27FC236}">
                  <a16:creationId xmlns:a16="http://schemas.microsoft.com/office/drawing/2014/main" id="{FF43414E-8B6C-49FE-B952-7375E08277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6" y="497"/>
              <a:ext cx="10" cy="57"/>
            </a:xfrm>
            <a:custGeom>
              <a:avLst/>
              <a:gdLst>
                <a:gd name="T0" fmla="*/ 4 w 4"/>
                <a:gd name="T1" fmla="*/ 24 h 24"/>
                <a:gd name="T2" fmla="*/ 2 w 4"/>
                <a:gd name="T3" fmla="*/ 21 h 24"/>
                <a:gd name="T4" fmla="*/ 0 w 4"/>
                <a:gd name="T5" fmla="*/ 12 h 24"/>
                <a:gd name="T6" fmla="*/ 0 w 4"/>
                <a:gd name="T7" fmla="*/ 4 h 24"/>
                <a:gd name="T8" fmla="*/ 0 w 4"/>
                <a:gd name="T9" fmla="*/ 0 h 24"/>
                <a:gd name="T10" fmla="*/ 1 w 4"/>
                <a:gd name="T11" fmla="*/ 12 h 24"/>
                <a:gd name="T12" fmla="*/ 4 w 4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24">
                  <a:moveTo>
                    <a:pt x="4" y="24"/>
                  </a:moveTo>
                  <a:cubicBezTo>
                    <a:pt x="4" y="24"/>
                    <a:pt x="3" y="23"/>
                    <a:pt x="2" y="21"/>
                  </a:cubicBezTo>
                  <a:cubicBezTo>
                    <a:pt x="2" y="19"/>
                    <a:pt x="1" y="16"/>
                    <a:pt x="0" y="12"/>
                  </a:cubicBezTo>
                  <a:cubicBezTo>
                    <a:pt x="0" y="9"/>
                    <a:pt x="0" y="6"/>
                    <a:pt x="0" y="4"/>
                  </a:cubicBezTo>
                  <a:cubicBezTo>
                    <a:pt x="0" y="2"/>
                    <a:pt x="0" y="0"/>
                    <a:pt x="0" y="0"/>
                  </a:cubicBezTo>
                  <a:cubicBezTo>
                    <a:pt x="0" y="0"/>
                    <a:pt x="0" y="6"/>
                    <a:pt x="1" y="12"/>
                  </a:cubicBezTo>
                  <a:cubicBezTo>
                    <a:pt x="2" y="19"/>
                    <a:pt x="4" y="24"/>
                    <a:pt x="4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37">
              <a:extLst>
                <a:ext uri="{FF2B5EF4-FFF2-40B4-BE49-F238E27FC236}">
                  <a16:creationId xmlns:a16="http://schemas.microsoft.com/office/drawing/2014/main" id="{9D393C6C-D676-445D-A338-898CA1347A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4" y="418"/>
              <a:ext cx="209" cy="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38">
              <a:extLst>
                <a:ext uri="{FF2B5EF4-FFF2-40B4-BE49-F238E27FC236}">
                  <a16:creationId xmlns:a16="http://schemas.microsoft.com/office/drawing/2014/main" id="{3B85EEFE-3D81-46D4-9227-9CD68DE45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8" y="618"/>
              <a:ext cx="167" cy="40"/>
            </a:xfrm>
            <a:custGeom>
              <a:avLst/>
              <a:gdLst>
                <a:gd name="T0" fmla="*/ 70 w 70"/>
                <a:gd name="T1" fmla="*/ 16 h 17"/>
                <a:gd name="T2" fmla="*/ 69 w 70"/>
                <a:gd name="T3" fmla="*/ 17 h 17"/>
                <a:gd name="T4" fmla="*/ 67 w 70"/>
                <a:gd name="T5" fmla="*/ 17 h 17"/>
                <a:gd name="T6" fmla="*/ 64 w 70"/>
                <a:gd name="T7" fmla="*/ 17 h 17"/>
                <a:gd name="T8" fmla="*/ 59 w 70"/>
                <a:gd name="T9" fmla="*/ 17 h 17"/>
                <a:gd name="T10" fmla="*/ 48 w 70"/>
                <a:gd name="T11" fmla="*/ 16 h 17"/>
                <a:gd name="T12" fmla="*/ 33 w 70"/>
                <a:gd name="T13" fmla="*/ 14 h 17"/>
                <a:gd name="T14" fmla="*/ 20 w 70"/>
                <a:gd name="T15" fmla="*/ 10 h 17"/>
                <a:gd name="T16" fmla="*/ 9 w 70"/>
                <a:gd name="T17" fmla="*/ 5 h 17"/>
                <a:gd name="T18" fmla="*/ 5 w 70"/>
                <a:gd name="T19" fmla="*/ 3 h 17"/>
                <a:gd name="T20" fmla="*/ 2 w 70"/>
                <a:gd name="T21" fmla="*/ 1 h 17"/>
                <a:gd name="T22" fmla="*/ 0 w 70"/>
                <a:gd name="T23" fmla="*/ 0 h 17"/>
                <a:gd name="T24" fmla="*/ 0 w 70"/>
                <a:gd name="T25" fmla="*/ 0 h 17"/>
                <a:gd name="T26" fmla="*/ 0 w 70"/>
                <a:gd name="T27" fmla="*/ 0 h 17"/>
                <a:gd name="T28" fmla="*/ 2 w 70"/>
                <a:gd name="T29" fmla="*/ 1 h 17"/>
                <a:gd name="T30" fmla="*/ 5 w 70"/>
                <a:gd name="T31" fmla="*/ 3 h 17"/>
                <a:gd name="T32" fmla="*/ 9 w 70"/>
                <a:gd name="T33" fmla="*/ 5 h 17"/>
                <a:gd name="T34" fmla="*/ 20 w 70"/>
                <a:gd name="T35" fmla="*/ 9 h 17"/>
                <a:gd name="T36" fmla="*/ 34 w 70"/>
                <a:gd name="T37" fmla="*/ 13 h 17"/>
                <a:gd name="T38" fmla="*/ 48 w 70"/>
                <a:gd name="T39" fmla="*/ 16 h 17"/>
                <a:gd name="T40" fmla="*/ 59 w 70"/>
                <a:gd name="T41" fmla="*/ 16 h 17"/>
                <a:gd name="T42" fmla="*/ 64 w 70"/>
                <a:gd name="T43" fmla="*/ 16 h 17"/>
                <a:gd name="T44" fmla="*/ 67 w 70"/>
                <a:gd name="T45" fmla="*/ 16 h 17"/>
                <a:gd name="T46" fmla="*/ 69 w 70"/>
                <a:gd name="T47" fmla="*/ 16 h 17"/>
                <a:gd name="T48" fmla="*/ 70 w 70"/>
                <a:gd name="T4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0" h="17">
                  <a:moveTo>
                    <a:pt x="70" y="16"/>
                  </a:moveTo>
                  <a:cubicBezTo>
                    <a:pt x="70" y="17"/>
                    <a:pt x="70" y="17"/>
                    <a:pt x="69" y="17"/>
                  </a:cubicBezTo>
                  <a:cubicBezTo>
                    <a:pt x="69" y="17"/>
                    <a:pt x="68" y="17"/>
                    <a:pt x="67" y="17"/>
                  </a:cubicBezTo>
                  <a:cubicBezTo>
                    <a:pt x="66" y="17"/>
                    <a:pt x="65" y="17"/>
                    <a:pt x="64" y="17"/>
                  </a:cubicBezTo>
                  <a:cubicBezTo>
                    <a:pt x="62" y="17"/>
                    <a:pt x="61" y="17"/>
                    <a:pt x="59" y="17"/>
                  </a:cubicBezTo>
                  <a:cubicBezTo>
                    <a:pt x="56" y="17"/>
                    <a:pt x="52" y="17"/>
                    <a:pt x="48" y="16"/>
                  </a:cubicBezTo>
                  <a:cubicBezTo>
                    <a:pt x="43" y="16"/>
                    <a:pt x="38" y="15"/>
                    <a:pt x="33" y="14"/>
                  </a:cubicBezTo>
                  <a:cubicBezTo>
                    <a:pt x="29" y="13"/>
                    <a:pt x="24" y="11"/>
                    <a:pt x="20" y="10"/>
                  </a:cubicBezTo>
                  <a:cubicBezTo>
                    <a:pt x="16" y="8"/>
                    <a:pt x="12" y="7"/>
                    <a:pt x="9" y="5"/>
                  </a:cubicBezTo>
                  <a:cubicBezTo>
                    <a:pt x="7" y="4"/>
                    <a:pt x="6" y="4"/>
                    <a:pt x="5" y="3"/>
                  </a:cubicBezTo>
                  <a:cubicBezTo>
                    <a:pt x="4" y="3"/>
                    <a:pt x="3" y="2"/>
                    <a:pt x="2" y="1"/>
                  </a:cubicBezTo>
                  <a:cubicBezTo>
                    <a:pt x="1" y="1"/>
                    <a:pt x="1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1"/>
                    <a:pt x="2" y="1"/>
                  </a:cubicBezTo>
                  <a:cubicBezTo>
                    <a:pt x="3" y="2"/>
                    <a:pt x="4" y="2"/>
                    <a:pt x="5" y="3"/>
                  </a:cubicBezTo>
                  <a:cubicBezTo>
                    <a:pt x="6" y="3"/>
                    <a:pt x="8" y="4"/>
                    <a:pt x="9" y="5"/>
                  </a:cubicBezTo>
                  <a:cubicBezTo>
                    <a:pt x="12" y="6"/>
                    <a:pt x="16" y="8"/>
                    <a:pt x="20" y="9"/>
                  </a:cubicBezTo>
                  <a:cubicBezTo>
                    <a:pt x="24" y="10"/>
                    <a:pt x="29" y="12"/>
                    <a:pt x="34" y="13"/>
                  </a:cubicBezTo>
                  <a:cubicBezTo>
                    <a:pt x="39" y="14"/>
                    <a:pt x="43" y="15"/>
                    <a:pt x="48" y="16"/>
                  </a:cubicBezTo>
                  <a:cubicBezTo>
                    <a:pt x="52" y="16"/>
                    <a:pt x="56" y="16"/>
                    <a:pt x="59" y="16"/>
                  </a:cubicBezTo>
                  <a:cubicBezTo>
                    <a:pt x="61" y="17"/>
                    <a:pt x="62" y="16"/>
                    <a:pt x="64" y="16"/>
                  </a:cubicBezTo>
                  <a:cubicBezTo>
                    <a:pt x="65" y="17"/>
                    <a:pt x="66" y="16"/>
                    <a:pt x="67" y="16"/>
                  </a:cubicBezTo>
                  <a:cubicBezTo>
                    <a:pt x="68" y="16"/>
                    <a:pt x="69" y="16"/>
                    <a:pt x="69" y="16"/>
                  </a:cubicBezTo>
                  <a:cubicBezTo>
                    <a:pt x="70" y="16"/>
                    <a:pt x="70" y="16"/>
                    <a:pt x="70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39">
              <a:extLst>
                <a:ext uri="{FF2B5EF4-FFF2-40B4-BE49-F238E27FC236}">
                  <a16:creationId xmlns:a16="http://schemas.microsoft.com/office/drawing/2014/main" id="{7A2646D8-757B-4F9F-9E8F-77A8C03652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4" y="794"/>
              <a:ext cx="378" cy="40"/>
            </a:xfrm>
            <a:custGeom>
              <a:avLst/>
              <a:gdLst>
                <a:gd name="T0" fmla="*/ 159 w 159"/>
                <a:gd name="T1" fmla="*/ 0 h 17"/>
                <a:gd name="T2" fmla="*/ 159 w 159"/>
                <a:gd name="T3" fmla="*/ 0 h 17"/>
                <a:gd name="T4" fmla="*/ 158 w 159"/>
                <a:gd name="T5" fmla="*/ 0 h 17"/>
                <a:gd name="T6" fmla="*/ 153 w 159"/>
                <a:gd name="T7" fmla="*/ 2 h 17"/>
                <a:gd name="T8" fmla="*/ 146 w 159"/>
                <a:gd name="T9" fmla="*/ 4 h 17"/>
                <a:gd name="T10" fmla="*/ 137 w 159"/>
                <a:gd name="T11" fmla="*/ 7 h 17"/>
                <a:gd name="T12" fmla="*/ 131 w 159"/>
                <a:gd name="T13" fmla="*/ 8 h 17"/>
                <a:gd name="T14" fmla="*/ 125 w 159"/>
                <a:gd name="T15" fmla="*/ 10 h 17"/>
                <a:gd name="T16" fmla="*/ 112 w 159"/>
                <a:gd name="T17" fmla="*/ 13 h 17"/>
                <a:gd name="T18" fmla="*/ 80 w 159"/>
                <a:gd name="T19" fmla="*/ 16 h 17"/>
                <a:gd name="T20" fmla="*/ 49 w 159"/>
                <a:gd name="T21" fmla="*/ 16 h 17"/>
                <a:gd name="T22" fmla="*/ 35 w 159"/>
                <a:gd name="T23" fmla="*/ 15 h 17"/>
                <a:gd name="T24" fmla="*/ 29 w 159"/>
                <a:gd name="T25" fmla="*/ 15 h 17"/>
                <a:gd name="T26" fmla="*/ 23 w 159"/>
                <a:gd name="T27" fmla="*/ 14 h 17"/>
                <a:gd name="T28" fmla="*/ 13 w 159"/>
                <a:gd name="T29" fmla="*/ 12 h 17"/>
                <a:gd name="T30" fmla="*/ 6 w 159"/>
                <a:gd name="T31" fmla="*/ 11 h 17"/>
                <a:gd name="T32" fmla="*/ 2 w 159"/>
                <a:gd name="T33" fmla="*/ 10 h 17"/>
                <a:gd name="T34" fmla="*/ 0 w 159"/>
                <a:gd name="T35" fmla="*/ 10 h 17"/>
                <a:gd name="T36" fmla="*/ 0 w 159"/>
                <a:gd name="T37" fmla="*/ 9 h 17"/>
                <a:gd name="T38" fmla="*/ 0 w 159"/>
                <a:gd name="T39" fmla="*/ 10 h 17"/>
                <a:gd name="T40" fmla="*/ 2 w 159"/>
                <a:gd name="T41" fmla="*/ 10 h 17"/>
                <a:gd name="T42" fmla="*/ 6 w 159"/>
                <a:gd name="T43" fmla="*/ 11 h 17"/>
                <a:gd name="T44" fmla="*/ 14 w 159"/>
                <a:gd name="T45" fmla="*/ 12 h 17"/>
                <a:gd name="T46" fmla="*/ 23 w 159"/>
                <a:gd name="T47" fmla="*/ 13 h 17"/>
                <a:gd name="T48" fmla="*/ 29 w 159"/>
                <a:gd name="T49" fmla="*/ 14 h 17"/>
                <a:gd name="T50" fmla="*/ 35 w 159"/>
                <a:gd name="T51" fmla="*/ 15 h 17"/>
                <a:gd name="T52" fmla="*/ 49 w 159"/>
                <a:gd name="T53" fmla="*/ 16 h 17"/>
                <a:gd name="T54" fmla="*/ 80 w 159"/>
                <a:gd name="T55" fmla="*/ 15 h 17"/>
                <a:gd name="T56" fmla="*/ 112 w 159"/>
                <a:gd name="T57" fmla="*/ 12 h 17"/>
                <a:gd name="T58" fmla="*/ 125 w 159"/>
                <a:gd name="T59" fmla="*/ 9 h 17"/>
                <a:gd name="T60" fmla="*/ 131 w 159"/>
                <a:gd name="T61" fmla="*/ 8 h 17"/>
                <a:gd name="T62" fmla="*/ 137 w 159"/>
                <a:gd name="T63" fmla="*/ 6 h 17"/>
                <a:gd name="T64" fmla="*/ 146 w 159"/>
                <a:gd name="T65" fmla="*/ 4 h 17"/>
                <a:gd name="T66" fmla="*/ 153 w 159"/>
                <a:gd name="T67" fmla="*/ 2 h 17"/>
                <a:gd name="T68" fmla="*/ 158 w 159"/>
                <a:gd name="T69" fmla="*/ 0 h 17"/>
                <a:gd name="T70" fmla="*/ 159 w 159"/>
                <a:gd name="T7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9" h="17">
                  <a:moveTo>
                    <a:pt x="159" y="0"/>
                  </a:moveTo>
                  <a:cubicBezTo>
                    <a:pt x="159" y="0"/>
                    <a:pt x="159" y="0"/>
                    <a:pt x="159" y="0"/>
                  </a:cubicBezTo>
                  <a:cubicBezTo>
                    <a:pt x="159" y="0"/>
                    <a:pt x="158" y="0"/>
                    <a:pt x="158" y="0"/>
                  </a:cubicBezTo>
                  <a:cubicBezTo>
                    <a:pt x="157" y="1"/>
                    <a:pt x="155" y="1"/>
                    <a:pt x="153" y="2"/>
                  </a:cubicBezTo>
                  <a:cubicBezTo>
                    <a:pt x="151" y="3"/>
                    <a:pt x="149" y="3"/>
                    <a:pt x="146" y="4"/>
                  </a:cubicBezTo>
                  <a:cubicBezTo>
                    <a:pt x="143" y="5"/>
                    <a:pt x="140" y="6"/>
                    <a:pt x="137" y="7"/>
                  </a:cubicBezTo>
                  <a:cubicBezTo>
                    <a:pt x="135" y="7"/>
                    <a:pt x="133" y="8"/>
                    <a:pt x="131" y="8"/>
                  </a:cubicBezTo>
                  <a:cubicBezTo>
                    <a:pt x="129" y="9"/>
                    <a:pt x="127" y="9"/>
                    <a:pt x="125" y="10"/>
                  </a:cubicBezTo>
                  <a:cubicBezTo>
                    <a:pt x="121" y="11"/>
                    <a:pt x="116" y="12"/>
                    <a:pt x="112" y="13"/>
                  </a:cubicBezTo>
                  <a:cubicBezTo>
                    <a:pt x="102" y="14"/>
                    <a:pt x="92" y="16"/>
                    <a:pt x="80" y="16"/>
                  </a:cubicBezTo>
                  <a:cubicBezTo>
                    <a:pt x="69" y="17"/>
                    <a:pt x="59" y="17"/>
                    <a:pt x="49" y="16"/>
                  </a:cubicBezTo>
                  <a:cubicBezTo>
                    <a:pt x="44" y="16"/>
                    <a:pt x="39" y="16"/>
                    <a:pt x="35" y="15"/>
                  </a:cubicBezTo>
                  <a:cubicBezTo>
                    <a:pt x="33" y="15"/>
                    <a:pt x="31" y="15"/>
                    <a:pt x="29" y="15"/>
                  </a:cubicBezTo>
                  <a:cubicBezTo>
                    <a:pt x="27" y="14"/>
                    <a:pt x="25" y="14"/>
                    <a:pt x="23" y="14"/>
                  </a:cubicBezTo>
                  <a:cubicBezTo>
                    <a:pt x="20" y="14"/>
                    <a:pt x="16" y="13"/>
                    <a:pt x="13" y="12"/>
                  </a:cubicBezTo>
                  <a:cubicBezTo>
                    <a:pt x="11" y="12"/>
                    <a:pt x="8" y="11"/>
                    <a:pt x="6" y="11"/>
                  </a:cubicBezTo>
                  <a:cubicBezTo>
                    <a:pt x="4" y="10"/>
                    <a:pt x="3" y="10"/>
                    <a:pt x="2" y="10"/>
                  </a:cubicBezTo>
                  <a:cubicBezTo>
                    <a:pt x="1" y="10"/>
                    <a:pt x="1" y="10"/>
                    <a:pt x="0" y="1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3" y="10"/>
                    <a:pt x="4" y="10"/>
                    <a:pt x="6" y="11"/>
                  </a:cubicBezTo>
                  <a:cubicBezTo>
                    <a:pt x="8" y="11"/>
                    <a:pt x="11" y="11"/>
                    <a:pt x="14" y="12"/>
                  </a:cubicBezTo>
                  <a:cubicBezTo>
                    <a:pt x="16" y="12"/>
                    <a:pt x="20" y="13"/>
                    <a:pt x="23" y="13"/>
                  </a:cubicBezTo>
                  <a:cubicBezTo>
                    <a:pt x="25" y="14"/>
                    <a:pt x="27" y="14"/>
                    <a:pt x="29" y="14"/>
                  </a:cubicBezTo>
                  <a:cubicBezTo>
                    <a:pt x="31" y="14"/>
                    <a:pt x="33" y="14"/>
                    <a:pt x="35" y="15"/>
                  </a:cubicBezTo>
                  <a:cubicBezTo>
                    <a:pt x="39" y="15"/>
                    <a:pt x="44" y="15"/>
                    <a:pt x="49" y="16"/>
                  </a:cubicBezTo>
                  <a:cubicBezTo>
                    <a:pt x="59" y="16"/>
                    <a:pt x="69" y="16"/>
                    <a:pt x="80" y="15"/>
                  </a:cubicBezTo>
                  <a:cubicBezTo>
                    <a:pt x="91" y="15"/>
                    <a:pt x="102" y="13"/>
                    <a:pt x="112" y="12"/>
                  </a:cubicBezTo>
                  <a:cubicBezTo>
                    <a:pt x="116" y="11"/>
                    <a:pt x="121" y="10"/>
                    <a:pt x="125" y="9"/>
                  </a:cubicBezTo>
                  <a:cubicBezTo>
                    <a:pt x="127" y="9"/>
                    <a:pt x="129" y="8"/>
                    <a:pt x="131" y="8"/>
                  </a:cubicBezTo>
                  <a:cubicBezTo>
                    <a:pt x="133" y="7"/>
                    <a:pt x="135" y="7"/>
                    <a:pt x="137" y="6"/>
                  </a:cubicBezTo>
                  <a:cubicBezTo>
                    <a:pt x="140" y="6"/>
                    <a:pt x="143" y="5"/>
                    <a:pt x="146" y="4"/>
                  </a:cubicBezTo>
                  <a:cubicBezTo>
                    <a:pt x="149" y="3"/>
                    <a:pt x="151" y="2"/>
                    <a:pt x="153" y="2"/>
                  </a:cubicBezTo>
                  <a:cubicBezTo>
                    <a:pt x="155" y="1"/>
                    <a:pt x="157" y="0"/>
                    <a:pt x="158" y="0"/>
                  </a:cubicBezTo>
                  <a:cubicBezTo>
                    <a:pt x="158" y="0"/>
                    <a:pt x="159" y="0"/>
                    <a:pt x="15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40">
              <a:extLst>
                <a:ext uri="{FF2B5EF4-FFF2-40B4-BE49-F238E27FC236}">
                  <a16:creationId xmlns:a16="http://schemas.microsoft.com/office/drawing/2014/main" id="{33586C75-8EB2-42D5-A90F-4FCC54E2E7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" y="2318"/>
              <a:ext cx="219" cy="242"/>
            </a:xfrm>
            <a:custGeom>
              <a:avLst/>
              <a:gdLst>
                <a:gd name="T0" fmla="*/ 0 w 92"/>
                <a:gd name="T1" fmla="*/ 46 h 102"/>
                <a:gd name="T2" fmla="*/ 0 w 92"/>
                <a:gd name="T3" fmla="*/ 102 h 102"/>
                <a:gd name="T4" fmla="*/ 65 w 92"/>
                <a:gd name="T5" fmla="*/ 0 h 102"/>
                <a:gd name="T6" fmla="*/ 0 w 92"/>
                <a:gd name="T7" fmla="*/ 46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" h="102">
                  <a:moveTo>
                    <a:pt x="0" y="46"/>
                  </a:moveTo>
                  <a:cubicBezTo>
                    <a:pt x="0" y="102"/>
                    <a:pt x="0" y="102"/>
                    <a:pt x="0" y="102"/>
                  </a:cubicBezTo>
                  <a:cubicBezTo>
                    <a:pt x="0" y="102"/>
                    <a:pt x="92" y="50"/>
                    <a:pt x="65" y="0"/>
                  </a:cubicBezTo>
                  <a:lnTo>
                    <a:pt x="0" y="46"/>
                  </a:lnTo>
                  <a:close/>
                </a:path>
              </a:pathLst>
            </a:custGeom>
            <a:solidFill>
              <a:srgbClr val="3037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41">
              <a:extLst>
                <a:ext uri="{FF2B5EF4-FFF2-40B4-BE49-F238E27FC236}">
                  <a16:creationId xmlns:a16="http://schemas.microsoft.com/office/drawing/2014/main" id="{088A8B63-905B-48E7-8363-828333E8A50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8" y="2066"/>
              <a:ext cx="279" cy="176"/>
            </a:xfrm>
            <a:custGeom>
              <a:avLst/>
              <a:gdLst>
                <a:gd name="T0" fmla="*/ 117 w 117"/>
                <a:gd name="T1" fmla="*/ 24 h 74"/>
                <a:gd name="T2" fmla="*/ 0 w 117"/>
                <a:gd name="T3" fmla="*/ 45 h 74"/>
                <a:gd name="T4" fmla="*/ 52 w 117"/>
                <a:gd name="T5" fmla="*/ 74 h 74"/>
                <a:gd name="T6" fmla="*/ 117 w 117"/>
                <a:gd name="T7" fmla="*/ 2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7" h="74">
                  <a:moveTo>
                    <a:pt x="117" y="24"/>
                  </a:moveTo>
                  <a:cubicBezTo>
                    <a:pt x="117" y="24"/>
                    <a:pt x="51" y="0"/>
                    <a:pt x="0" y="45"/>
                  </a:cubicBezTo>
                  <a:cubicBezTo>
                    <a:pt x="52" y="74"/>
                    <a:pt x="52" y="74"/>
                    <a:pt x="52" y="74"/>
                  </a:cubicBezTo>
                  <a:lnTo>
                    <a:pt x="117" y="24"/>
                  </a:lnTo>
                  <a:close/>
                </a:path>
              </a:pathLst>
            </a:custGeom>
            <a:solidFill>
              <a:srgbClr val="3037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42">
              <a:extLst>
                <a:ext uri="{FF2B5EF4-FFF2-40B4-BE49-F238E27FC236}">
                  <a16:creationId xmlns:a16="http://schemas.microsoft.com/office/drawing/2014/main" id="{5946877F-7051-4788-AA68-4A2FEDC09EA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" y="1955"/>
              <a:ext cx="537" cy="472"/>
            </a:xfrm>
            <a:custGeom>
              <a:avLst/>
              <a:gdLst>
                <a:gd name="T0" fmla="*/ 0 w 226"/>
                <a:gd name="T1" fmla="*/ 121 h 199"/>
                <a:gd name="T2" fmla="*/ 56 w 226"/>
                <a:gd name="T3" fmla="*/ 199 h 199"/>
                <a:gd name="T4" fmla="*/ 197 w 226"/>
                <a:gd name="T5" fmla="*/ 99 h 199"/>
                <a:gd name="T6" fmla="*/ 206 w 226"/>
                <a:gd name="T7" fmla="*/ 24 h 199"/>
                <a:gd name="T8" fmla="*/ 136 w 226"/>
                <a:gd name="T9" fmla="*/ 17 h 199"/>
                <a:gd name="T10" fmla="*/ 0 w 226"/>
                <a:gd name="T11" fmla="*/ 121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6" h="199">
                  <a:moveTo>
                    <a:pt x="0" y="121"/>
                  </a:moveTo>
                  <a:cubicBezTo>
                    <a:pt x="2" y="124"/>
                    <a:pt x="56" y="199"/>
                    <a:pt x="56" y="199"/>
                  </a:cubicBezTo>
                  <a:cubicBezTo>
                    <a:pt x="197" y="99"/>
                    <a:pt x="197" y="99"/>
                    <a:pt x="197" y="99"/>
                  </a:cubicBezTo>
                  <a:cubicBezTo>
                    <a:pt x="222" y="82"/>
                    <a:pt x="226" y="47"/>
                    <a:pt x="206" y="24"/>
                  </a:cubicBezTo>
                  <a:cubicBezTo>
                    <a:pt x="189" y="3"/>
                    <a:pt x="158" y="0"/>
                    <a:pt x="136" y="17"/>
                  </a:cubicBezTo>
                  <a:lnTo>
                    <a:pt x="0" y="121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43">
              <a:extLst>
                <a:ext uri="{FF2B5EF4-FFF2-40B4-BE49-F238E27FC236}">
                  <a16:creationId xmlns:a16="http://schemas.microsoft.com/office/drawing/2014/main" id="{41D9C9FF-53B0-4278-8496-122E59634C3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" y="1967"/>
              <a:ext cx="523" cy="463"/>
            </a:xfrm>
            <a:custGeom>
              <a:avLst/>
              <a:gdLst>
                <a:gd name="T0" fmla="*/ 0 w 220"/>
                <a:gd name="T1" fmla="*/ 116 h 195"/>
                <a:gd name="T2" fmla="*/ 1 w 220"/>
                <a:gd name="T3" fmla="*/ 115 h 195"/>
                <a:gd name="T4" fmla="*/ 5 w 220"/>
                <a:gd name="T5" fmla="*/ 112 h 195"/>
                <a:gd name="T6" fmla="*/ 18 w 220"/>
                <a:gd name="T7" fmla="*/ 102 h 195"/>
                <a:gd name="T8" fmla="*/ 69 w 220"/>
                <a:gd name="T9" fmla="*/ 62 h 195"/>
                <a:gd name="T10" fmla="*/ 105 w 220"/>
                <a:gd name="T11" fmla="*/ 34 h 195"/>
                <a:gd name="T12" fmla="*/ 125 w 220"/>
                <a:gd name="T13" fmla="*/ 19 h 195"/>
                <a:gd name="T14" fmla="*/ 135 w 220"/>
                <a:gd name="T15" fmla="*/ 11 h 195"/>
                <a:gd name="T16" fmla="*/ 147 w 220"/>
                <a:gd name="T17" fmla="*/ 4 h 195"/>
                <a:gd name="T18" fmla="*/ 153 w 220"/>
                <a:gd name="T19" fmla="*/ 2 h 195"/>
                <a:gd name="T20" fmla="*/ 160 w 220"/>
                <a:gd name="T21" fmla="*/ 1 h 195"/>
                <a:gd name="T22" fmla="*/ 174 w 220"/>
                <a:gd name="T23" fmla="*/ 1 h 195"/>
                <a:gd name="T24" fmla="*/ 201 w 220"/>
                <a:gd name="T25" fmla="*/ 12 h 195"/>
                <a:gd name="T26" fmla="*/ 211 w 220"/>
                <a:gd name="T27" fmla="*/ 24 h 195"/>
                <a:gd name="T28" fmla="*/ 217 w 220"/>
                <a:gd name="T29" fmla="*/ 37 h 195"/>
                <a:gd name="T30" fmla="*/ 217 w 220"/>
                <a:gd name="T31" fmla="*/ 68 h 195"/>
                <a:gd name="T32" fmla="*/ 200 w 220"/>
                <a:gd name="T33" fmla="*/ 93 h 195"/>
                <a:gd name="T34" fmla="*/ 177 w 220"/>
                <a:gd name="T35" fmla="*/ 110 h 195"/>
                <a:gd name="T36" fmla="*/ 132 w 220"/>
                <a:gd name="T37" fmla="*/ 141 h 195"/>
                <a:gd name="T38" fmla="*/ 56 w 220"/>
                <a:gd name="T39" fmla="*/ 195 h 195"/>
                <a:gd name="T40" fmla="*/ 56 w 220"/>
                <a:gd name="T41" fmla="*/ 195 h 195"/>
                <a:gd name="T42" fmla="*/ 55 w 220"/>
                <a:gd name="T43" fmla="*/ 195 h 195"/>
                <a:gd name="T44" fmla="*/ 15 w 220"/>
                <a:gd name="T45" fmla="*/ 137 h 195"/>
                <a:gd name="T46" fmla="*/ 4 w 220"/>
                <a:gd name="T47" fmla="*/ 121 h 195"/>
                <a:gd name="T48" fmla="*/ 1 w 220"/>
                <a:gd name="T49" fmla="*/ 117 h 195"/>
                <a:gd name="T50" fmla="*/ 0 w 220"/>
                <a:gd name="T51" fmla="*/ 116 h 195"/>
                <a:gd name="T52" fmla="*/ 1 w 220"/>
                <a:gd name="T53" fmla="*/ 117 h 195"/>
                <a:gd name="T54" fmla="*/ 4 w 220"/>
                <a:gd name="T55" fmla="*/ 122 h 195"/>
                <a:gd name="T56" fmla="*/ 15 w 220"/>
                <a:gd name="T57" fmla="*/ 137 h 195"/>
                <a:gd name="T58" fmla="*/ 57 w 220"/>
                <a:gd name="T59" fmla="*/ 194 h 195"/>
                <a:gd name="T60" fmla="*/ 56 w 220"/>
                <a:gd name="T61" fmla="*/ 194 h 195"/>
                <a:gd name="T62" fmla="*/ 131 w 220"/>
                <a:gd name="T63" fmla="*/ 140 h 195"/>
                <a:gd name="T64" fmla="*/ 176 w 220"/>
                <a:gd name="T65" fmla="*/ 108 h 195"/>
                <a:gd name="T66" fmla="*/ 199 w 220"/>
                <a:gd name="T67" fmla="*/ 91 h 195"/>
                <a:gd name="T68" fmla="*/ 215 w 220"/>
                <a:gd name="T69" fmla="*/ 68 h 195"/>
                <a:gd name="T70" fmla="*/ 215 w 220"/>
                <a:gd name="T71" fmla="*/ 38 h 195"/>
                <a:gd name="T72" fmla="*/ 209 w 220"/>
                <a:gd name="T73" fmla="*/ 25 h 195"/>
                <a:gd name="T74" fmla="*/ 200 w 220"/>
                <a:gd name="T75" fmla="*/ 14 h 195"/>
                <a:gd name="T76" fmla="*/ 174 w 220"/>
                <a:gd name="T77" fmla="*/ 2 h 195"/>
                <a:gd name="T78" fmla="*/ 160 w 220"/>
                <a:gd name="T79" fmla="*/ 2 h 195"/>
                <a:gd name="T80" fmla="*/ 154 w 220"/>
                <a:gd name="T81" fmla="*/ 4 h 195"/>
                <a:gd name="T82" fmla="*/ 147 w 220"/>
                <a:gd name="T83" fmla="*/ 6 h 195"/>
                <a:gd name="T84" fmla="*/ 126 w 220"/>
                <a:gd name="T85" fmla="*/ 20 h 195"/>
                <a:gd name="T86" fmla="*/ 106 w 220"/>
                <a:gd name="T87" fmla="*/ 36 h 195"/>
                <a:gd name="T88" fmla="*/ 71 w 220"/>
                <a:gd name="T89" fmla="*/ 63 h 195"/>
                <a:gd name="T90" fmla="*/ 19 w 220"/>
                <a:gd name="T91" fmla="*/ 102 h 195"/>
                <a:gd name="T92" fmla="*/ 5 w 220"/>
                <a:gd name="T93" fmla="*/ 112 h 195"/>
                <a:gd name="T94" fmla="*/ 1 w 220"/>
                <a:gd name="T95" fmla="*/ 115 h 195"/>
                <a:gd name="T96" fmla="*/ 0 w 220"/>
                <a:gd name="T97" fmla="*/ 116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0" h="195">
                  <a:moveTo>
                    <a:pt x="0" y="116"/>
                  </a:moveTo>
                  <a:cubicBezTo>
                    <a:pt x="0" y="116"/>
                    <a:pt x="0" y="116"/>
                    <a:pt x="1" y="115"/>
                  </a:cubicBezTo>
                  <a:cubicBezTo>
                    <a:pt x="2" y="114"/>
                    <a:pt x="3" y="114"/>
                    <a:pt x="5" y="112"/>
                  </a:cubicBezTo>
                  <a:cubicBezTo>
                    <a:pt x="8" y="110"/>
                    <a:pt x="13" y="106"/>
                    <a:pt x="18" y="102"/>
                  </a:cubicBezTo>
                  <a:cubicBezTo>
                    <a:pt x="31" y="92"/>
                    <a:pt x="48" y="79"/>
                    <a:pt x="69" y="62"/>
                  </a:cubicBezTo>
                  <a:cubicBezTo>
                    <a:pt x="80" y="53"/>
                    <a:pt x="92" y="44"/>
                    <a:pt x="105" y="34"/>
                  </a:cubicBezTo>
                  <a:cubicBezTo>
                    <a:pt x="111" y="29"/>
                    <a:pt x="118" y="24"/>
                    <a:pt x="125" y="19"/>
                  </a:cubicBezTo>
                  <a:cubicBezTo>
                    <a:pt x="128" y="16"/>
                    <a:pt x="131" y="14"/>
                    <a:pt x="135" y="11"/>
                  </a:cubicBezTo>
                  <a:cubicBezTo>
                    <a:pt x="139" y="8"/>
                    <a:pt x="142" y="6"/>
                    <a:pt x="147" y="4"/>
                  </a:cubicBezTo>
                  <a:cubicBezTo>
                    <a:pt x="149" y="3"/>
                    <a:pt x="151" y="3"/>
                    <a:pt x="153" y="2"/>
                  </a:cubicBezTo>
                  <a:cubicBezTo>
                    <a:pt x="155" y="1"/>
                    <a:pt x="158" y="1"/>
                    <a:pt x="160" y="1"/>
                  </a:cubicBezTo>
                  <a:cubicBezTo>
                    <a:pt x="165" y="0"/>
                    <a:pt x="170" y="0"/>
                    <a:pt x="174" y="1"/>
                  </a:cubicBezTo>
                  <a:cubicBezTo>
                    <a:pt x="184" y="2"/>
                    <a:pt x="193" y="6"/>
                    <a:pt x="201" y="12"/>
                  </a:cubicBezTo>
                  <a:cubicBezTo>
                    <a:pt x="205" y="15"/>
                    <a:pt x="208" y="19"/>
                    <a:pt x="211" y="24"/>
                  </a:cubicBezTo>
                  <a:cubicBezTo>
                    <a:pt x="214" y="28"/>
                    <a:pt x="216" y="33"/>
                    <a:pt x="217" y="37"/>
                  </a:cubicBezTo>
                  <a:cubicBezTo>
                    <a:pt x="220" y="47"/>
                    <a:pt x="220" y="58"/>
                    <a:pt x="217" y="68"/>
                  </a:cubicBezTo>
                  <a:cubicBezTo>
                    <a:pt x="214" y="78"/>
                    <a:pt x="208" y="87"/>
                    <a:pt x="200" y="93"/>
                  </a:cubicBezTo>
                  <a:cubicBezTo>
                    <a:pt x="192" y="99"/>
                    <a:pt x="185" y="104"/>
                    <a:pt x="177" y="110"/>
                  </a:cubicBezTo>
                  <a:cubicBezTo>
                    <a:pt x="162" y="121"/>
                    <a:pt x="147" y="131"/>
                    <a:pt x="132" y="141"/>
                  </a:cubicBezTo>
                  <a:cubicBezTo>
                    <a:pt x="104" y="161"/>
                    <a:pt x="78" y="179"/>
                    <a:pt x="56" y="195"/>
                  </a:cubicBezTo>
                  <a:cubicBezTo>
                    <a:pt x="56" y="195"/>
                    <a:pt x="56" y="195"/>
                    <a:pt x="56" y="195"/>
                  </a:cubicBezTo>
                  <a:cubicBezTo>
                    <a:pt x="55" y="195"/>
                    <a:pt x="55" y="195"/>
                    <a:pt x="55" y="195"/>
                  </a:cubicBezTo>
                  <a:cubicBezTo>
                    <a:pt x="38" y="170"/>
                    <a:pt x="24" y="151"/>
                    <a:pt x="15" y="137"/>
                  </a:cubicBezTo>
                  <a:cubicBezTo>
                    <a:pt x="10" y="130"/>
                    <a:pt x="6" y="125"/>
                    <a:pt x="4" y="121"/>
                  </a:cubicBezTo>
                  <a:cubicBezTo>
                    <a:pt x="2" y="120"/>
                    <a:pt x="2" y="118"/>
                    <a:pt x="1" y="117"/>
                  </a:cubicBezTo>
                  <a:cubicBezTo>
                    <a:pt x="0" y="117"/>
                    <a:pt x="0" y="116"/>
                    <a:pt x="0" y="116"/>
                  </a:cubicBezTo>
                  <a:cubicBezTo>
                    <a:pt x="0" y="116"/>
                    <a:pt x="0" y="117"/>
                    <a:pt x="1" y="117"/>
                  </a:cubicBezTo>
                  <a:cubicBezTo>
                    <a:pt x="2" y="118"/>
                    <a:pt x="3" y="120"/>
                    <a:pt x="4" y="122"/>
                  </a:cubicBezTo>
                  <a:cubicBezTo>
                    <a:pt x="7" y="125"/>
                    <a:pt x="11" y="130"/>
                    <a:pt x="15" y="137"/>
                  </a:cubicBezTo>
                  <a:cubicBezTo>
                    <a:pt x="25" y="151"/>
                    <a:pt x="39" y="170"/>
                    <a:pt x="57" y="194"/>
                  </a:cubicBezTo>
                  <a:cubicBezTo>
                    <a:pt x="56" y="194"/>
                    <a:pt x="56" y="194"/>
                    <a:pt x="56" y="194"/>
                  </a:cubicBezTo>
                  <a:cubicBezTo>
                    <a:pt x="77" y="178"/>
                    <a:pt x="103" y="160"/>
                    <a:pt x="131" y="140"/>
                  </a:cubicBezTo>
                  <a:cubicBezTo>
                    <a:pt x="146" y="130"/>
                    <a:pt x="160" y="119"/>
                    <a:pt x="176" y="108"/>
                  </a:cubicBezTo>
                  <a:cubicBezTo>
                    <a:pt x="183" y="103"/>
                    <a:pt x="191" y="97"/>
                    <a:pt x="199" y="91"/>
                  </a:cubicBezTo>
                  <a:cubicBezTo>
                    <a:pt x="206" y="85"/>
                    <a:pt x="212" y="77"/>
                    <a:pt x="215" y="68"/>
                  </a:cubicBezTo>
                  <a:cubicBezTo>
                    <a:pt x="218" y="58"/>
                    <a:pt x="218" y="48"/>
                    <a:pt x="215" y="38"/>
                  </a:cubicBezTo>
                  <a:cubicBezTo>
                    <a:pt x="214" y="33"/>
                    <a:pt x="212" y="29"/>
                    <a:pt x="209" y="25"/>
                  </a:cubicBezTo>
                  <a:cubicBezTo>
                    <a:pt x="206" y="21"/>
                    <a:pt x="203" y="17"/>
                    <a:pt x="200" y="14"/>
                  </a:cubicBezTo>
                  <a:cubicBezTo>
                    <a:pt x="192" y="8"/>
                    <a:pt x="183" y="4"/>
                    <a:pt x="174" y="2"/>
                  </a:cubicBezTo>
                  <a:cubicBezTo>
                    <a:pt x="169" y="2"/>
                    <a:pt x="165" y="2"/>
                    <a:pt x="160" y="2"/>
                  </a:cubicBezTo>
                  <a:cubicBezTo>
                    <a:pt x="158" y="3"/>
                    <a:pt x="156" y="3"/>
                    <a:pt x="154" y="4"/>
                  </a:cubicBezTo>
                  <a:cubicBezTo>
                    <a:pt x="152" y="4"/>
                    <a:pt x="149" y="5"/>
                    <a:pt x="147" y="6"/>
                  </a:cubicBezTo>
                  <a:cubicBezTo>
                    <a:pt x="139" y="9"/>
                    <a:pt x="133" y="15"/>
                    <a:pt x="126" y="20"/>
                  </a:cubicBezTo>
                  <a:cubicBezTo>
                    <a:pt x="119" y="26"/>
                    <a:pt x="112" y="31"/>
                    <a:pt x="106" y="36"/>
                  </a:cubicBezTo>
                  <a:cubicBezTo>
                    <a:pt x="93" y="45"/>
                    <a:pt x="82" y="54"/>
                    <a:pt x="71" y="63"/>
                  </a:cubicBezTo>
                  <a:cubicBezTo>
                    <a:pt x="49" y="79"/>
                    <a:pt x="31" y="92"/>
                    <a:pt x="19" y="102"/>
                  </a:cubicBezTo>
                  <a:cubicBezTo>
                    <a:pt x="13" y="106"/>
                    <a:pt x="8" y="110"/>
                    <a:pt x="5" y="112"/>
                  </a:cubicBezTo>
                  <a:cubicBezTo>
                    <a:pt x="3" y="114"/>
                    <a:pt x="2" y="114"/>
                    <a:pt x="1" y="115"/>
                  </a:cubicBezTo>
                  <a:cubicBezTo>
                    <a:pt x="0" y="116"/>
                    <a:pt x="0" y="116"/>
                    <a:pt x="0" y="11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44">
              <a:extLst>
                <a:ext uri="{FF2B5EF4-FFF2-40B4-BE49-F238E27FC236}">
                  <a16:creationId xmlns:a16="http://schemas.microsoft.com/office/drawing/2014/main" id="{97BDB7B7-F308-4611-9D7C-E6D026ACB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" y="2228"/>
              <a:ext cx="240" cy="178"/>
            </a:xfrm>
            <a:custGeom>
              <a:avLst/>
              <a:gdLst>
                <a:gd name="T0" fmla="*/ 89 w 101"/>
                <a:gd name="T1" fmla="*/ 2 h 75"/>
                <a:gd name="T2" fmla="*/ 0 w 101"/>
                <a:gd name="T3" fmla="*/ 65 h 75"/>
                <a:gd name="T4" fmla="*/ 7 w 101"/>
                <a:gd name="T5" fmla="*/ 74 h 75"/>
                <a:gd name="T6" fmla="*/ 96 w 101"/>
                <a:gd name="T7" fmla="*/ 13 h 75"/>
                <a:gd name="T8" fmla="*/ 98 w 101"/>
                <a:gd name="T9" fmla="*/ 3 h 75"/>
                <a:gd name="T10" fmla="*/ 89 w 101"/>
                <a:gd name="T11" fmla="*/ 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75">
                  <a:moveTo>
                    <a:pt x="89" y="2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0" y="65"/>
                    <a:pt x="4" y="75"/>
                    <a:pt x="7" y="74"/>
                  </a:cubicBezTo>
                  <a:cubicBezTo>
                    <a:pt x="9" y="73"/>
                    <a:pt x="75" y="28"/>
                    <a:pt x="96" y="13"/>
                  </a:cubicBezTo>
                  <a:cubicBezTo>
                    <a:pt x="100" y="11"/>
                    <a:pt x="101" y="6"/>
                    <a:pt x="98" y="3"/>
                  </a:cubicBezTo>
                  <a:cubicBezTo>
                    <a:pt x="95" y="0"/>
                    <a:pt x="91" y="0"/>
                    <a:pt x="89" y="2"/>
                  </a:cubicBezTo>
                  <a:close/>
                </a:path>
              </a:pathLst>
            </a:custGeom>
            <a:solidFill>
              <a:srgbClr val="3037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45">
              <a:extLst>
                <a:ext uri="{FF2B5EF4-FFF2-40B4-BE49-F238E27FC236}">
                  <a16:creationId xmlns:a16="http://schemas.microsoft.com/office/drawing/2014/main" id="{163A2FF6-5CF6-4754-9419-BF6702E17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" y="2071"/>
              <a:ext cx="145" cy="142"/>
            </a:xfrm>
            <a:custGeom>
              <a:avLst/>
              <a:gdLst>
                <a:gd name="T0" fmla="*/ 60 w 61"/>
                <a:gd name="T1" fmla="*/ 28 h 60"/>
                <a:gd name="T2" fmla="*/ 32 w 61"/>
                <a:gd name="T3" fmla="*/ 59 h 60"/>
                <a:gd name="T4" fmla="*/ 1 w 61"/>
                <a:gd name="T5" fmla="*/ 32 h 60"/>
                <a:gd name="T6" fmla="*/ 29 w 61"/>
                <a:gd name="T7" fmla="*/ 1 h 60"/>
                <a:gd name="T8" fmla="*/ 60 w 61"/>
                <a:gd name="T9" fmla="*/ 2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60">
                  <a:moveTo>
                    <a:pt x="60" y="28"/>
                  </a:moveTo>
                  <a:cubicBezTo>
                    <a:pt x="61" y="44"/>
                    <a:pt x="49" y="58"/>
                    <a:pt x="32" y="59"/>
                  </a:cubicBezTo>
                  <a:cubicBezTo>
                    <a:pt x="16" y="60"/>
                    <a:pt x="2" y="48"/>
                    <a:pt x="1" y="32"/>
                  </a:cubicBezTo>
                  <a:cubicBezTo>
                    <a:pt x="0" y="16"/>
                    <a:pt x="12" y="2"/>
                    <a:pt x="29" y="1"/>
                  </a:cubicBezTo>
                  <a:cubicBezTo>
                    <a:pt x="45" y="0"/>
                    <a:pt x="59" y="12"/>
                    <a:pt x="60" y="2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46">
              <a:extLst>
                <a:ext uri="{FF2B5EF4-FFF2-40B4-BE49-F238E27FC236}">
                  <a16:creationId xmlns:a16="http://schemas.microsoft.com/office/drawing/2014/main" id="{EDCB1927-D9A2-4F23-95E0-795312ABF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" y="2069"/>
              <a:ext cx="143" cy="147"/>
            </a:xfrm>
            <a:custGeom>
              <a:avLst/>
              <a:gdLst>
                <a:gd name="T0" fmla="*/ 60 w 60"/>
                <a:gd name="T1" fmla="*/ 29 h 62"/>
                <a:gd name="T2" fmla="*/ 58 w 60"/>
                <a:gd name="T3" fmla="*/ 22 h 62"/>
                <a:gd name="T4" fmla="*/ 46 w 60"/>
                <a:gd name="T5" fmla="*/ 7 h 62"/>
                <a:gd name="T6" fmla="*/ 34 w 60"/>
                <a:gd name="T7" fmla="*/ 3 h 62"/>
                <a:gd name="T8" fmla="*/ 19 w 60"/>
                <a:gd name="T9" fmla="*/ 5 h 62"/>
                <a:gd name="T10" fmla="*/ 7 w 60"/>
                <a:gd name="T11" fmla="*/ 16 h 62"/>
                <a:gd name="T12" fmla="*/ 2 w 60"/>
                <a:gd name="T13" fmla="*/ 33 h 62"/>
                <a:gd name="T14" fmla="*/ 9 w 60"/>
                <a:gd name="T15" fmla="*/ 49 h 62"/>
                <a:gd name="T16" fmla="*/ 23 w 60"/>
                <a:gd name="T17" fmla="*/ 58 h 62"/>
                <a:gd name="T18" fmla="*/ 38 w 60"/>
                <a:gd name="T19" fmla="*/ 59 h 62"/>
                <a:gd name="T20" fmla="*/ 49 w 60"/>
                <a:gd name="T21" fmla="*/ 53 h 62"/>
                <a:gd name="T22" fmla="*/ 59 w 60"/>
                <a:gd name="T23" fmla="*/ 36 h 62"/>
                <a:gd name="T24" fmla="*/ 60 w 60"/>
                <a:gd name="T25" fmla="*/ 29 h 62"/>
                <a:gd name="T26" fmla="*/ 60 w 60"/>
                <a:gd name="T27" fmla="*/ 31 h 62"/>
                <a:gd name="T28" fmla="*/ 60 w 60"/>
                <a:gd name="T29" fmla="*/ 36 h 62"/>
                <a:gd name="T30" fmla="*/ 50 w 60"/>
                <a:gd name="T31" fmla="*/ 54 h 62"/>
                <a:gd name="T32" fmla="*/ 38 w 60"/>
                <a:gd name="T33" fmla="*/ 60 h 62"/>
                <a:gd name="T34" fmla="*/ 22 w 60"/>
                <a:gd name="T35" fmla="*/ 60 h 62"/>
                <a:gd name="T36" fmla="*/ 7 w 60"/>
                <a:gd name="T37" fmla="*/ 50 h 62"/>
                <a:gd name="T38" fmla="*/ 0 w 60"/>
                <a:gd name="T39" fmla="*/ 33 h 62"/>
                <a:gd name="T40" fmla="*/ 5 w 60"/>
                <a:gd name="T41" fmla="*/ 15 h 62"/>
                <a:gd name="T42" fmla="*/ 18 w 60"/>
                <a:gd name="T43" fmla="*/ 3 h 62"/>
                <a:gd name="T44" fmla="*/ 34 w 60"/>
                <a:gd name="T45" fmla="*/ 1 h 62"/>
                <a:gd name="T46" fmla="*/ 47 w 60"/>
                <a:gd name="T47" fmla="*/ 6 h 62"/>
                <a:gd name="T48" fmla="*/ 59 w 60"/>
                <a:gd name="T49" fmla="*/ 22 h 62"/>
                <a:gd name="T50" fmla="*/ 60 w 60"/>
                <a:gd name="T51" fmla="*/ 27 h 62"/>
                <a:gd name="T52" fmla="*/ 60 w 60"/>
                <a:gd name="T53" fmla="*/ 2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0" h="62">
                  <a:moveTo>
                    <a:pt x="60" y="29"/>
                  </a:moveTo>
                  <a:cubicBezTo>
                    <a:pt x="60" y="29"/>
                    <a:pt x="60" y="26"/>
                    <a:pt x="58" y="22"/>
                  </a:cubicBezTo>
                  <a:cubicBezTo>
                    <a:pt x="57" y="18"/>
                    <a:pt x="53" y="12"/>
                    <a:pt x="46" y="7"/>
                  </a:cubicBezTo>
                  <a:cubicBezTo>
                    <a:pt x="43" y="5"/>
                    <a:pt x="39" y="3"/>
                    <a:pt x="34" y="3"/>
                  </a:cubicBezTo>
                  <a:cubicBezTo>
                    <a:pt x="29" y="2"/>
                    <a:pt x="24" y="3"/>
                    <a:pt x="19" y="5"/>
                  </a:cubicBezTo>
                  <a:cubicBezTo>
                    <a:pt x="14" y="7"/>
                    <a:pt x="10" y="11"/>
                    <a:pt x="7" y="16"/>
                  </a:cubicBezTo>
                  <a:cubicBezTo>
                    <a:pt x="3" y="21"/>
                    <a:pt x="2" y="27"/>
                    <a:pt x="2" y="33"/>
                  </a:cubicBezTo>
                  <a:cubicBezTo>
                    <a:pt x="3" y="39"/>
                    <a:pt x="5" y="45"/>
                    <a:pt x="9" y="49"/>
                  </a:cubicBezTo>
                  <a:cubicBezTo>
                    <a:pt x="12" y="54"/>
                    <a:pt x="17" y="57"/>
                    <a:pt x="23" y="58"/>
                  </a:cubicBezTo>
                  <a:cubicBezTo>
                    <a:pt x="28" y="60"/>
                    <a:pt x="33" y="60"/>
                    <a:pt x="38" y="59"/>
                  </a:cubicBezTo>
                  <a:cubicBezTo>
                    <a:pt x="42" y="58"/>
                    <a:pt x="46" y="55"/>
                    <a:pt x="49" y="53"/>
                  </a:cubicBezTo>
                  <a:cubicBezTo>
                    <a:pt x="56" y="47"/>
                    <a:pt x="58" y="41"/>
                    <a:pt x="59" y="36"/>
                  </a:cubicBezTo>
                  <a:cubicBezTo>
                    <a:pt x="60" y="32"/>
                    <a:pt x="60" y="29"/>
                    <a:pt x="60" y="29"/>
                  </a:cubicBezTo>
                  <a:cubicBezTo>
                    <a:pt x="60" y="29"/>
                    <a:pt x="60" y="30"/>
                    <a:pt x="60" y="31"/>
                  </a:cubicBezTo>
                  <a:cubicBezTo>
                    <a:pt x="60" y="32"/>
                    <a:pt x="60" y="34"/>
                    <a:pt x="60" y="36"/>
                  </a:cubicBezTo>
                  <a:cubicBezTo>
                    <a:pt x="59" y="41"/>
                    <a:pt x="57" y="48"/>
                    <a:pt x="50" y="54"/>
                  </a:cubicBezTo>
                  <a:cubicBezTo>
                    <a:pt x="47" y="56"/>
                    <a:pt x="43" y="59"/>
                    <a:pt x="38" y="60"/>
                  </a:cubicBezTo>
                  <a:cubicBezTo>
                    <a:pt x="33" y="61"/>
                    <a:pt x="27" y="62"/>
                    <a:pt x="22" y="60"/>
                  </a:cubicBezTo>
                  <a:cubicBezTo>
                    <a:pt x="17" y="59"/>
                    <a:pt x="11" y="55"/>
                    <a:pt x="7" y="50"/>
                  </a:cubicBezTo>
                  <a:cubicBezTo>
                    <a:pt x="3" y="46"/>
                    <a:pt x="1" y="39"/>
                    <a:pt x="0" y="33"/>
                  </a:cubicBezTo>
                  <a:cubicBezTo>
                    <a:pt x="0" y="26"/>
                    <a:pt x="1" y="20"/>
                    <a:pt x="5" y="15"/>
                  </a:cubicBezTo>
                  <a:cubicBezTo>
                    <a:pt x="8" y="9"/>
                    <a:pt x="13" y="5"/>
                    <a:pt x="18" y="3"/>
                  </a:cubicBezTo>
                  <a:cubicBezTo>
                    <a:pt x="24" y="1"/>
                    <a:pt x="29" y="0"/>
                    <a:pt x="34" y="1"/>
                  </a:cubicBezTo>
                  <a:cubicBezTo>
                    <a:pt x="39" y="2"/>
                    <a:pt x="44" y="3"/>
                    <a:pt x="47" y="6"/>
                  </a:cubicBezTo>
                  <a:cubicBezTo>
                    <a:pt x="54" y="11"/>
                    <a:pt x="58" y="17"/>
                    <a:pt x="59" y="22"/>
                  </a:cubicBezTo>
                  <a:cubicBezTo>
                    <a:pt x="60" y="24"/>
                    <a:pt x="60" y="26"/>
                    <a:pt x="60" y="27"/>
                  </a:cubicBezTo>
                  <a:cubicBezTo>
                    <a:pt x="60" y="28"/>
                    <a:pt x="60" y="29"/>
                    <a:pt x="60" y="2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47">
              <a:extLst>
                <a:ext uri="{FF2B5EF4-FFF2-40B4-BE49-F238E27FC236}">
                  <a16:creationId xmlns:a16="http://schemas.microsoft.com/office/drawing/2014/main" id="{A03FF63A-1843-4BC0-AE51-9E8C16E3EC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" y="1912"/>
              <a:ext cx="274" cy="266"/>
            </a:xfrm>
            <a:custGeom>
              <a:avLst/>
              <a:gdLst>
                <a:gd name="T0" fmla="*/ 68 w 115"/>
                <a:gd name="T1" fmla="*/ 112 h 112"/>
                <a:gd name="T2" fmla="*/ 106 w 115"/>
                <a:gd name="T3" fmla="*/ 16 h 112"/>
                <a:gd name="T4" fmla="*/ 0 w 115"/>
                <a:gd name="T5" fmla="*/ 35 h 112"/>
                <a:gd name="T6" fmla="*/ 68 w 115"/>
                <a:gd name="T7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5" h="112">
                  <a:moveTo>
                    <a:pt x="68" y="112"/>
                  </a:moveTo>
                  <a:cubicBezTo>
                    <a:pt x="115" y="68"/>
                    <a:pt x="106" y="16"/>
                    <a:pt x="106" y="16"/>
                  </a:cubicBezTo>
                  <a:cubicBezTo>
                    <a:pt x="43" y="0"/>
                    <a:pt x="0" y="35"/>
                    <a:pt x="0" y="35"/>
                  </a:cubicBezTo>
                  <a:cubicBezTo>
                    <a:pt x="42" y="41"/>
                    <a:pt x="65" y="66"/>
                    <a:pt x="68" y="112"/>
                  </a:cubicBezTo>
                  <a:close/>
                </a:path>
              </a:pathLst>
            </a:custGeom>
            <a:solidFill>
              <a:srgbClr val="3037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48">
              <a:extLst>
                <a:ext uri="{FF2B5EF4-FFF2-40B4-BE49-F238E27FC236}">
                  <a16:creationId xmlns:a16="http://schemas.microsoft.com/office/drawing/2014/main" id="{4D51D733-5095-4B9F-8426-3D9C012EEC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1" y="1729"/>
              <a:ext cx="454" cy="549"/>
            </a:xfrm>
            <a:custGeom>
              <a:avLst/>
              <a:gdLst>
                <a:gd name="T0" fmla="*/ 73 w 191"/>
                <a:gd name="T1" fmla="*/ 0 h 231"/>
                <a:gd name="T2" fmla="*/ 89 w 191"/>
                <a:gd name="T3" fmla="*/ 152 h 231"/>
                <a:gd name="T4" fmla="*/ 187 w 191"/>
                <a:gd name="T5" fmla="*/ 184 h 231"/>
                <a:gd name="T6" fmla="*/ 191 w 191"/>
                <a:gd name="T7" fmla="*/ 231 h 231"/>
                <a:gd name="T8" fmla="*/ 53 w 191"/>
                <a:gd name="T9" fmla="*/ 222 h 231"/>
                <a:gd name="T10" fmla="*/ 2 w 191"/>
                <a:gd name="T11" fmla="*/ 167 h 231"/>
                <a:gd name="T12" fmla="*/ 0 w 191"/>
                <a:gd name="T13" fmla="*/ 21 h 231"/>
                <a:gd name="T14" fmla="*/ 73 w 191"/>
                <a:gd name="T15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1" h="231">
                  <a:moveTo>
                    <a:pt x="73" y="0"/>
                  </a:moveTo>
                  <a:cubicBezTo>
                    <a:pt x="89" y="152"/>
                    <a:pt x="89" y="152"/>
                    <a:pt x="89" y="152"/>
                  </a:cubicBezTo>
                  <a:cubicBezTo>
                    <a:pt x="187" y="184"/>
                    <a:pt x="187" y="184"/>
                    <a:pt x="187" y="184"/>
                  </a:cubicBezTo>
                  <a:cubicBezTo>
                    <a:pt x="191" y="231"/>
                    <a:pt x="191" y="231"/>
                    <a:pt x="191" y="231"/>
                  </a:cubicBezTo>
                  <a:cubicBezTo>
                    <a:pt x="53" y="222"/>
                    <a:pt x="53" y="222"/>
                    <a:pt x="53" y="222"/>
                  </a:cubicBezTo>
                  <a:cubicBezTo>
                    <a:pt x="53" y="222"/>
                    <a:pt x="11" y="223"/>
                    <a:pt x="2" y="167"/>
                  </a:cubicBezTo>
                  <a:cubicBezTo>
                    <a:pt x="0" y="21"/>
                    <a:pt x="0" y="21"/>
                    <a:pt x="0" y="21"/>
                  </a:cubicBezTo>
                  <a:lnTo>
                    <a:pt x="73" y="0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49">
              <a:extLst>
                <a:ext uri="{FF2B5EF4-FFF2-40B4-BE49-F238E27FC236}">
                  <a16:creationId xmlns:a16="http://schemas.microsoft.com/office/drawing/2014/main" id="{E467D469-3EF2-44C7-8758-D508D0F06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8" y="2097"/>
              <a:ext cx="281" cy="200"/>
            </a:xfrm>
            <a:custGeom>
              <a:avLst/>
              <a:gdLst>
                <a:gd name="T0" fmla="*/ 95 w 118"/>
                <a:gd name="T1" fmla="*/ 75 h 84"/>
                <a:gd name="T2" fmla="*/ 88 w 118"/>
                <a:gd name="T3" fmla="*/ 77 h 84"/>
                <a:gd name="T4" fmla="*/ 86 w 118"/>
                <a:gd name="T5" fmla="*/ 76 h 84"/>
                <a:gd name="T6" fmla="*/ 85 w 118"/>
                <a:gd name="T7" fmla="*/ 67 h 84"/>
                <a:gd name="T8" fmla="*/ 68 w 118"/>
                <a:gd name="T9" fmla="*/ 59 h 84"/>
                <a:gd name="T10" fmla="*/ 30 w 118"/>
                <a:gd name="T11" fmla="*/ 76 h 84"/>
                <a:gd name="T12" fmla="*/ 0 w 118"/>
                <a:gd name="T13" fmla="*/ 70 h 84"/>
                <a:gd name="T14" fmla="*/ 3 w 118"/>
                <a:gd name="T15" fmla="*/ 30 h 84"/>
                <a:gd name="T16" fmla="*/ 43 w 118"/>
                <a:gd name="T17" fmla="*/ 9 h 84"/>
                <a:gd name="T18" fmla="*/ 45 w 118"/>
                <a:gd name="T19" fmla="*/ 5 h 84"/>
                <a:gd name="T20" fmla="*/ 58 w 118"/>
                <a:gd name="T21" fmla="*/ 5 h 84"/>
                <a:gd name="T22" fmla="*/ 68 w 118"/>
                <a:gd name="T23" fmla="*/ 3 h 84"/>
                <a:gd name="T24" fmla="*/ 96 w 118"/>
                <a:gd name="T25" fmla="*/ 14 h 84"/>
                <a:gd name="T26" fmla="*/ 108 w 118"/>
                <a:gd name="T27" fmla="*/ 27 h 84"/>
                <a:gd name="T28" fmla="*/ 115 w 118"/>
                <a:gd name="T29" fmla="*/ 50 h 84"/>
                <a:gd name="T30" fmla="*/ 116 w 118"/>
                <a:gd name="T31" fmla="*/ 68 h 84"/>
                <a:gd name="T32" fmla="*/ 108 w 118"/>
                <a:gd name="T33" fmla="*/ 70 h 84"/>
                <a:gd name="T34" fmla="*/ 102 w 118"/>
                <a:gd name="T35" fmla="*/ 79 h 84"/>
                <a:gd name="T36" fmla="*/ 95 w 118"/>
                <a:gd name="T37" fmla="*/ 7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8" h="84">
                  <a:moveTo>
                    <a:pt x="95" y="75"/>
                  </a:moveTo>
                  <a:cubicBezTo>
                    <a:pt x="93" y="77"/>
                    <a:pt x="90" y="78"/>
                    <a:pt x="88" y="77"/>
                  </a:cubicBezTo>
                  <a:cubicBezTo>
                    <a:pt x="87" y="77"/>
                    <a:pt x="87" y="77"/>
                    <a:pt x="86" y="76"/>
                  </a:cubicBezTo>
                  <a:cubicBezTo>
                    <a:pt x="83" y="74"/>
                    <a:pt x="85" y="67"/>
                    <a:pt x="85" y="67"/>
                  </a:cubicBezTo>
                  <a:cubicBezTo>
                    <a:pt x="68" y="59"/>
                    <a:pt x="68" y="59"/>
                    <a:pt x="68" y="59"/>
                  </a:cubicBezTo>
                  <a:cubicBezTo>
                    <a:pt x="68" y="59"/>
                    <a:pt x="41" y="68"/>
                    <a:pt x="30" y="76"/>
                  </a:cubicBezTo>
                  <a:cubicBezTo>
                    <a:pt x="19" y="84"/>
                    <a:pt x="0" y="70"/>
                    <a:pt x="0" y="7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9"/>
                    <a:pt x="41" y="10"/>
                    <a:pt x="45" y="5"/>
                  </a:cubicBezTo>
                  <a:cubicBezTo>
                    <a:pt x="48" y="0"/>
                    <a:pt x="58" y="5"/>
                    <a:pt x="58" y="5"/>
                  </a:cubicBezTo>
                  <a:cubicBezTo>
                    <a:pt x="61" y="2"/>
                    <a:pt x="68" y="3"/>
                    <a:pt x="68" y="3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102" y="16"/>
                    <a:pt x="106" y="21"/>
                    <a:pt x="108" y="27"/>
                  </a:cubicBezTo>
                  <a:cubicBezTo>
                    <a:pt x="115" y="50"/>
                    <a:pt x="115" y="50"/>
                    <a:pt x="115" y="50"/>
                  </a:cubicBezTo>
                  <a:cubicBezTo>
                    <a:pt x="115" y="50"/>
                    <a:pt x="118" y="65"/>
                    <a:pt x="116" y="68"/>
                  </a:cubicBezTo>
                  <a:cubicBezTo>
                    <a:pt x="113" y="73"/>
                    <a:pt x="108" y="70"/>
                    <a:pt x="108" y="70"/>
                  </a:cubicBezTo>
                  <a:cubicBezTo>
                    <a:pt x="108" y="70"/>
                    <a:pt x="104" y="79"/>
                    <a:pt x="102" y="79"/>
                  </a:cubicBezTo>
                  <a:cubicBezTo>
                    <a:pt x="99" y="79"/>
                    <a:pt x="95" y="75"/>
                    <a:pt x="95" y="75"/>
                  </a:cubicBez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50">
              <a:extLst>
                <a:ext uri="{FF2B5EF4-FFF2-40B4-BE49-F238E27FC236}">
                  <a16:creationId xmlns:a16="http://schemas.microsoft.com/office/drawing/2014/main" id="{D93B96ED-F21B-43D6-9FD1-359CDB9019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" y="2099"/>
              <a:ext cx="266" cy="188"/>
            </a:xfrm>
            <a:custGeom>
              <a:avLst/>
              <a:gdLst>
                <a:gd name="T0" fmla="*/ 35 w 112"/>
                <a:gd name="T1" fmla="*/ 69 h 79"/>
                <a:gd name="T2" fmla="*/ 63 w 112"/>
                <a:gd name="T3" fmla="*/ 59 h 79"/>
                <a:gd name="T4" fmla="*/ 80 w 112"/>
                <a:gd name="T5" fmla="*/ 66 h 79"/>
                <a:gd name="T6" fmla="*/ 79 w 112"/>
                <a:gd name="T7" fmla="*/ 70 h 79"/>
                <a:gd name="T8" fmla="*/ 82 w 112"/>
                <a:gd name="T9" fmla="*/ 77 h 79"/>
                <a:gd name="T10" fmla="*/ 89 w 112"/>
                <a:gd name="T11" fmla="*/ 76 h 79"/>
                <a:gd name="T12" fmla="*/ 90 w 112"/>
                <a:gd name="T13" fmla="*/ 75 h 79"/>
                <a:gd name="T14" fmla="*/ 91 w 112"/>
                <a:gd name="T15" fmla="*/ 75 h 79"/>
                <a:gd name="T16" fmla="*/ 90 w 112"/>
                <a:gd name="T17" fmla="*/ 75 h 79"/>
                <a:gd name="T18" fmla="*/ 90 w 112"/>
                <a:gd name="T19" fmla="*/ 75 h 79"/>
                <a:gd name="T20" fmla="*/ 92 w 112"/>
                <a:gd name="T21" fmla="*/ 77 h 79"/>
                <a:gd name="T22" fmla="*/ 96 w 112"/>
                <a:gd name="T23" fmla="*/ 79 h 79"/>
                <a:gd name="T24" fmla="*/ 100 w 112"/>
                <a:gd name="T25" fmla="*/ 77 h 79"/>
                <a:gd name="T26" fmla="*/ 104 w 112"/>
                <a:gd name="T27" fmla="*/ 70 h 79"/>
                <a:gd name="T28" fmla="*/ 110 w 112"/>
                <a:gd name="T29" fmla="*/ 70 h 79"/>
                <a:gd name="T30" fmla="*/ 112 w 112"/>
                <a:gd name="T31" fmla="*/ 63 h 79"/>
                <a:gd name="T32" fmla="*/ 111 w 112"/>
                <a:gd name="T33" fmla="*/ 48 h 79"/>
                <a:gd name="T34" fmla="*/ 107 w 112"/>
                <a:gd name="T35" fmla="*/ 36 h 79"/>
                <a:gd name="T36" fmla="*/ 102 w 112"/>
                <a:gd name="T37" fmla="*/ 21 h 79"/>
                <a:gd name="T38" fmla="*/ 89 w 112"/>
                <a:gd name="T39" fmla="*/ 12 h 79"/>
                <a:gd name="T40" fmla="*/ 63 w 112"/>
                <a:gd name="T41" fmla="*/ 1 h 79"/>
                <a:gd name="T42" fmla="*/ 58 w 112"/>
                <a:gd name="T43" fmla="*/ 1 h 79"/>
                <a:gd name="T44" fmla="*/ 54 w 112"/>
                <a:gd name="T45" fmla="*/ 3 h 79"/>
                <a:gd name="T46" fmla="*/ 38 w 112"/>
                <a:gd name="T47" fmla="*/ 7 h 79"/>
                <a:gd name="T48" fmla="*/ 10 w 112"/>
                <a:gd name="T49" fmla="*/ 21 h 79"/>
                <a:gd name="T50" fmla="*/ 0 w 112"/>
                <a:gd name="T51" fmla="*/ 27 h 79"/>
                <a:gd name="T52" fmla="*/ 10 w 112"/>
                <a:gd name="T53" fmla="*/ 22 h 79"/>
                <a:gd name="T54" fmla="*/ 39 w 112"/>
                <a:gd name="T55" fmla="*/ 8 h 79"/>
                <a:gd name="T56" fmla="*/ 45 w 112"/>
                <a:gd name="T57" fmla="*/ 3 h 79"/>
                <a:gd name="T58" fmla="*/ 53 w 112"/>
                <a:gd name="T59" fmla="*/ 5 h 79"/>
                <a:gd name="T60" fmla="*/ 58 w 112"/>
                <a:gd name="T61" fmla="*/ 3 h 79"/>
                <a:gd name="T62" fmla="*/ 62 w 112"/>
                <a:gd name="T63" fmla="*/ 3 h 79"/>
                <a:gd name="T64" fmla="*/ 95 w 112"/>
                <a:gd name="T65" fmla="*/ 17 h 79"/>
                <a:gd name="T66" fmla="*/ 103 w 112"/>
                <a:gd name="T67" fmla="*/ 29 h 79"/>
                <a:gd name="T68" fmla="*/ 109 w 112"/>
                <a:gd name="T69" fmla="*/ 49 h 79"/>
                <a:gd name="T70" fmla="*/ 111 w 112"/>
                <a:gd name="T71" fmla="*/ 63 h 79"/>
                <a:gd name="T72" fmla="*/ 109 w 112"/>
                <a:gd name="T73" fmla="*/ 68 h 79"/>
                <a:gd name="T74" fmla="*/ 103 w 112"/>
                <a:gd name="T75" fmla="*/ 68 h 79"/>
                <a:gd name="T76" fmla="*/ 100 w 112"/>
                <a:gd name="T77" fmla="*/ 74 h 79"/>
                <a:gd name="T78" fmla="*/ 96 w 112"/>
                <a:gd name="T79" fmla="*/ 77 h 79"/>
                <a:gd name="T80" fmla="*/ 93 w 112"/>
                <a:gd name="T81" fmla="*/ 75 h 79"/>
                <a:gd name="T82" fmla="*/ 91 w 112"/>
                <a:gd name="T83" fmla="*/ 74 h 79"/>
                <a:gd name="T84" fmla="*/ 91 w 112"/>
                <a:gd name="T85" fmla="*/ 74 h 79"/>
                <a:gd name="T86" fmla="*/ 89 w 112"/>
                <a:gd name="T87" fmla="*/ 74 h 79"/>
                <a:gd name="T88" fmla="*/ 89 w 112"/>
                <a:gd name="T89" fmla="*/ 74 h 79"/>
                <a:gd name="T90" fmla="*/ 88 w 112"/>
                <a:gd name="T91" fmla="*/ 75 h 79"/>
                <a:gd name="T92" fmla="*/ 82 w 112"/>
                <a:gd name="T93" fmla="*/ 75 h 79"/>
                <a:gd name="T94" fmla="*/ 81 w 112"/>
                <a:gd name="T95" fmla="*/ 66 h 79"/>
                <a:gd name="T96" fmla="*/ 80 w 112"/>
                <a:gd name="T97" fmla="*/ 65 h 79"/>
                <a:gd name="T98" fmla="*/ 63 w 112"/>
                <a:gd name="T99" fmla="*/ 57 h 79"/>
                <a:gd name="T100" fmla="*/ 40 w 112"/>
                <a:gd name="T101" fmla="*/ 66 h 79"/>
                <a:gd name="T102" fmla="*/ 33 w 112"/>
                <a:gd name="T103" fmla="*/ 7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2" h="79">
                  <a:moveTo>
                    <a:pt x="33" y="70"/>
                  </a:moveTo>
                  <a:cubicBezTo>
                    <a:pt x="33" y="70"/>
                    <a:pt x="33" y="70"/>
                    <a:pt x="35" y="69"/>
                  </a:cubicBezTo>
                  <a:cubicBezTo>
                    <a:pt x="36" y="69"/>
                    <a:pt x="38" y="68"/>
                    <a:pt x="41" y="67"/>
                  </a:cubicBezTo>
                  <a:cubicBezTo>
                    <a:pt x="46" y="65"/>
                    <a:pt x="53" y="62"/>
                    <a:pt x="63" y="59"/>
                  </a:cubicBezTo>
                  <a:cubicBezTo>
                    <a:pt x="63" y="59"/>
                    <a:pt x="63" y="59"/>
                    <a:pt x="63" y="59"/>
                  </a:cubicBezTo>
                  <a:cubicBezTo>
                    <a:pt x="68" y="61"/>
                    <a:pt x="74" y="64"/>
                    <a:pt x="80" y="66"/>
                  </a:cubicBezTo>
                  <a:cubicBezTo>
                    <a:pt x="79" y="66"/>
                    <a:pt x="79" y="66"/>
                    <a:pt x="79" y="66"/>
                  </a:cubicBezTo>
                  <a:cubicBezTo>
                    <a:pt x="79" y="67"/>
                    <a:pt x="79" y="68"/>
                    <a:pt x="79" y="70"/>
                  </a:cubicBezTo>
                  <a:cubicBezTo>
                    <a:pt x="79" y="72"/>
                    <a:pt x="79" y="73"/>
                    <a:pt x="79" y="75"/>
                  </a:cubicBezTo>
                  <a:cubicBezTo>
                    <a:pt x="80" y="76"/>
                    <a:pt x="81" y="76"/>
                    <a:pt x="82" y="77"/>
                  </a:cubicBezTo>
                  <a:cubicBezTo>
                    <a:pt x="82" y="77"/>
                    <a:pt x="83" y="77"/>
                    <a:pt x="84" y="77"/>
                  </a:cubicBezTo>
                  <a:cubicBezTo>
                    <a:pt x="86" y="78"/>
                    <a:pt x="88" y="77"/>
                    <a:pt x="89" y="76"/>
                  </a:cubicBezTo>
                  <a:cubicBezTo>
                    <a:pt x="90" y="76"/>
                    <a:pt x="90" y="76"/>
                    <a:pt x="90" y="75"/>
                  </a:cubicBezTo>
                  <a:cubicBezTo>
                    <a:pt x="90" y="75"/>
                    <a:pt x="90" y="75"/>
                    <a:pt x="90" y="75"/>
                  </a:cubicBezTo>
                  <a:cubicBezTo>
                    <a:pt x="91" y="75"/>
                    <a:pt x="91" y="75"/>
                    <a:pt x="91" y="75"/>
                  </a:cubicBezTo>
                  <a:cubicBezTo>
                    <a:pt x="91" y="75"/>
                    <a:pt x="91" y="75"/>
                    <a:pt x="91" y="75"/>
                  </a:cubicBezTo>
                  <a:cubicBezTo>
                    <a:pt x="91" y="75"/>
                    <a:pt x="91" y="75"/>
                    <a:pt x="91" y="75"/>
                  </a:cubicBezTo>
                  <a:cubicBezTo>
                    <a:pt x="91" y="75"/>
                    <a:pt x="88" y="75"/>
                    <a:pt x="90" y="75"/>
                  </a:cubicBezTo>
                  <a:cubicBezTo>
                    <a:pt x="90" y="75"/>
                    <a:pt x="90" y="75"/>
                    <a:pt x="90" y="75"/>
                  </a:cubicBezTo>
                  <a:cubicBezTo>
                    <a:pt x="90" y="75"/>
                    <a:pt x="90" y="75"/>
                    <a:pt x="90" y="75"/>
                  </a:cubicBezTo>
                  <a:cubicBezTo>
                    <a:pt x="90" y="75"/>
                    <a:pt x="90" y="75"/>
                    <a:pt x="90" y="75"/>
                  </a:cubicBezTo>
                  <a:cubicBezTo>
                    <a:pt x="91" y="76"/>
                    <a:pt x="91" y="76"/>
                    <a:pt x="92" y="77"/>
                  </a:cubicBezTo>
                  <a:cubicBezTo>
                    <a:pt x="93" y="77"/>
                    <a:pt x="94" y="78"/>
                    <a:pt x="94" y="78"/>
                  </a:cubicBezTo>
                  <a:cubicBezTo>
                    <a:pt x="95" y="78"/>
                    <a:pt x="95" y="78"/>
                    <a:pt x="96" y="79"/>
                  </a:cubicBezTo>
                  <a:cubicBezTo>
                    <a:pt x="96" y="79"/>
                    <a:pt x="97" y="79"/>
                    <a:pt x="97" y="79"/>
                  </a:cubicBezTo>
                  <a:cubicBezTo>
                    <a:pt x="99" y="78"/>
                    <a:pt x="99" y="77"/>
                    <a:pt x="100" y="77"/>
                  </a:cubicBezTo>
                  <a:cubicBezTo>
                    <a:pt x="100" y="76"/>
                    <a:pt x="101" y="75"/>
                    <a:pt x="101" y="74"/>
                  </a:cubicBezTo>
                  <a:cubicBezTo>
                    <a:pt x="102" y="73"/>
                    <a:pt x="103" y="71"/>
                    <a:pt x="104" y="70"/>
                  </a:cubicBezTo>
                  <a:cubicBezTo>
                    <a:pt x="103" y="70"/>
                    <a:pt x="103" y="70"/>
                    <a:pt x="103" y="70"/>
                  </a:cubicBezTo>
                  <a:cubicBezTo>
                    <a:pt x="105" y="71"/>
                    <a:pt x="108" y="71"/>
                    <a:pt x="110" y="70"/>
                  </a:cubicBezTo>
                  <a:cubicBezTo>
                    <a:pt x="111" y="69"/>
                    <a:pt x="112" y="68"/>
                    <a:pt x="112" y="66"/>
                  </a:cubicBezTo>
                  <a:cubicBezTo>
                    <a:pt x="112" y="65"/>
                    <a:pt x="112" y="64"/>
                    <a:pt x="112" y="63"/>
                  </a:cubicBezTo>
                  <a:cubicBezTo>
                    <a:pt x="112" y="58"/>
                    <a:pt x="112" y="53"/>
                    <a:pt x="111" y="49"/>
                  </a:cubicBezTo>
                  <a:cubicBezTo>
                    <a:pt x="111" y="48"/>
                    <a:pt x="111" y="48"/>
                    <a:pt x="111" y="48"/>
                  </a:cubicBezTo>
                  <a:cubicBezTo>
                    <a:pt x="111" y="48"/>
                    <a:pt x="111" y="48"/>
                    <a:pt x="111" y="48"/>
                  </a:cubicBezTo>
                  <a:cubicBezTo>
                    <a:pt x="110" y="45"/>
                    <a:pt x="108" y="40"/>
                    <a:pt x="107" y="36"/>
                  </a:cubicBezTo>
                  <a:cubicBezTo>
                    <a:pt x="106" y="34"/>
                    <a:pt x="105" y="31"/>
                    <a:pt x="105" y="29"/>
                  </a:cubicBezTo>
                  <a:cubicBezTo>
                    <a:pt x="104" y="26"/>
                    <a:pt x="103" y="24"/>
                    <a:pt x="102" y="21"/>
                  </a:cubicBezTo>
                  <a:cubicBezTo>
                    <a:pt x="100" y="19"/>
                    <a:pt x="99" y="17"/>
                    <a:pt x="96" y="15"/>
                  </a:cubicBezTo>
                  <a:cubicBezTo>
                    <a:pt x="94" y="13"/>
                    <a:pt x="92" y="13"/>
                    <a:pt x="89" y="12"/>
                  </a:cubicBezTo>
                  <a:cubicBezTo>
                    <a:pt x="80" y="8"/>
                    <a:pt x="71" y="5"/>
                    <a:pt x="63" y="1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1" y="1"/>
                    <a:pt x="59" y="1"/>
                    <a:pt x="58" y="1"/>
                  </a:cubicBezTo>
                  <a:cubicBezTo>
                    <a:pt x="56" y="2"/>
                    <a:pt x="54" y="2"/>
                    <a:pt x="53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1" y="1"/>
                    <a:pt x="48" y="0"/>
                    <a:pt x="44" y="1"/>
                  </a:cubicBezTo>
                  <a:cubicBezTo>
                    <a:pt x="41" y="2"/>
                    <a:pt x="39" y="5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26" y="13"/>
                    <a:pt x="17" y="18"/>
                    <a:pt x="10" y="21"/>
                  </a:cubicBezTo>
                  <a:cubicBezTo>
                    <a:pt x="7" y="23"/>
                    <a:pt x="4" y="24"/>
                    <a:pt x="2" y="25"/>
                  </a:cubicBezTo>
                  <a:cubicBezTo>
                    <a:pt x="1" y="26"/>
                    <a:pt x="0" y="27"/>
                    <a:pt x="0" y="27"/>
                  </a:cubicBezTo>
                  <a:cubicBezTo>
                    <a:pt x="0" y="27"/>
                    <a:pt x="1" y="27"/>
                    <a:pt x="3" y="26"/>
                  </a:cubicBezTo>
                  <a:cubicBezTo>
                    <a:pt x="5" y="25"/>
                    <a:pt x="7" y="24"/>
                    <a:pt x="10" y="22"/>
                  </a:cubicBezTo>
                  <a:cubicBezTo>
                    <a:pt x="17" y="19"/>
                    <a:pt x="27" y="14"/>
                    <a:pt x="39" y="8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40" y="6"/>
                    <a:pt x="42" y="3"/>
                    <a:pt x="45" y="3"/>
                  </a:cubicBezTo>
                  <a:cubicBezTo>
                    <a:pt x="47" y="2"/>
                    <a:pt x="50" y="3"/>
                    <a:pt x="53" y="4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5" y="3"/>
                    <a:pt x="56" y="3"/>
                    <a:pt x="58" y="3"/>
                  </a:cubicBezTo>
                  <a:cubicBezTo>
                    <a:pt x="59" y="3"/>
                    <a:pt x="61" y="3"/>
                    <a:pt x="63" y="3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71" y="6"/>
                    <a:pt x="79" y="10"/>
                    <a:pt x="89" y="13"/>
                  </a:cubicBezTo>
                  <a:cubicBezTo>
                    <a:pt x="91" y="14"/>
                    <a:pt x="93" y="15"/>
                    <a:pt x="95" y="17"/>
                  </a:cubicBezTo>
                  <a:cubicBezTo>
                    <a:pt x="97" y="18"/>
                    <a:pt x="99" y="20"/>
                    <a:pt x="100" y="22"/>
                  </a:cubicBezTo>
                  <a:cubicBezTo>
                    <a:pt x="101" y="24"/>
                    <a:pt x="102" y="27"/>
                    <a:pt x="103" y="29"/>
                  </a:cubicBezTo>
                  <a:cubicBezTo>
                    <a:pt x="104" y="32"/>
                    <a:pt x="104" y="34"/>
                    <a:pt x="105" y="37"/>
                  </a:cubicBezTo>
                  <a:cubicBezTo>
                    <a:pt x="107" y="41"/>
                    <a:pt x="108" y="45"/>
                    <a:pt x="109" y="49"/>
                  </a:cubicBezTo>
                  <a:cubicBezTo>
                    <a:pt x="109" y="49"/>
                    <a:pt x="109" y="49"/>
                    <a:pt x="109" y="49"/>
                  </a:cubicBezTo>
                  <a:cubicBezTo>
                    <a:pt x="110" y="54"/>
                    <a:pt x="110" y="58"/>
                    <a:pt x="111" y="63"/>
                  </a:cubicBezTo>
                  <a:cubicBezTo>
                    <a:pt x="111" y="64"/>
                    <a:pt x="111" y="65"/>
                    <a:pt x="110" y="66"/>
                  </a:cubicBezTo>
                  <a:cubicBezTo>
                    <a:pt x="110" y="67"/>
                    <a:pt x="110" y="68"/>
                    <a:pt x="109" y="68"/>
                  </a:cubicBezTo>
                  <a:cubicBezTo>
                    <a:pt x="107" y="69"/>
                    <a:pt x="105" y="69"/>
                    <a:pt x="103" y="69"/>
                  </a:cubicBezTo>
                  <a:cubicBezTo>
                    <a:pt x="103" y="68"/>
                    <a:pt x="103" y="68"/>
                    <a:pt x="103" y="68"/>
                  </a:cubicBezTo>
                  <a:cubicBezTo>
                    <a:pt x="102" y="69"/>
                    <a:pt x="102" y="69"/>
                    <a:pt x="102" y="69"/>
                  </a:cubicBezTo>
                  <a:cubicBezTo>
                    <a:pt x="102" y="71"/>
                    <a:pt x="101" y="72"/>
                    <a:pt x="100" y="74"/>
                  </a:cubicBezTo>
                  <a:cubicBezTo>
                    <a:pt x="99" y="75"/>
                    <a:pt x="98" y="77"/>
                    <a:pt x="97" y="77"/>
                  </a:cubicBezTo>
                  <a:cubicBezTo>
                    <a:pt x="97" y="77"/>
                    <a:pt x="97" y="77"/>
                    <a:pt x="96" y="77"/>
                  </a:cubicBezTo>
                  <a:cubicBezTo>
                    <a:pt x="95" y="76"/>
                    <a:pt x="95" y="76"/>
                    <a:pt x="95" y="76"/>
                  </a:cubicBezTo>
                  <a:cubicBezTo>
                    <a:pt x="94" y="76"/>
                    <a:pt x="94" y="76"/>
                    <a:pt x="93" y="75"/>
                  </a:cubicBezTo>
                  <a:cubicBezTo>
                    <a:pt x="92" y="75"/>
                    <a:pt x="92" y="74"/>
                    <a:pt x="91" y="74"/>
                  </a:cubicBezTo>
                  <a:cubicBezTo>
                    <a:pt x="91" y="74"/>
                    <a:pt x="91" y="74"/>
                    <a:pt x="91" y="74"/>
                  </a:cubicBezTo>
                  <a:cubicBezTo>
                    <a:pt x="91" y="74"/>
                    <a:pt x="91" y="74"/>
                    <a:pt x="91" y="74"/>
                  </a:cubicBezTo>
                  <a:cubicBezTo>
                    <a:pt x="91" y="74"/>
                    <a:pt x="91" y="74"/>
                    <a:pt x="91" y="74"/>
                  </a:cubicBezTo>
                  <a:cubicBezTo>
                    <a:pt x="92" y="73"/>
                    <a:pt x="89" y="74"/>
                    <a:pt x="89" y="74"/>
                  </a:cubicBezTo>
                  <a:cubicBezTo>
                    <a:pt x="89" y="74"/>
                    <a:pt x="89" y="74"/>
                    <a:pt x="89" y="74"/>
                  </a:cubicBezTo>
                  <a:cubicBezTo>
                    <a:pt x="89" y="74"/>
                    <a:pt x="89" y="74"/>
                    <a:pt x="89" y="74"/>
                  </a:cubicBezTo>
                  <a:cubicBezTo>
                    <a:pt x="89" y="74"/>
                    <a:pt x="89" y="74"/>
                    <a:pt x="89" y="74"/>
                  </a:cubicBezTo>
                  <a:cubicBezTo>
                    <a:pt x="89" y="74"/>
                    <a:pt x="89" y="74"/>
                    <a:pt x="89" y="74"/>
                  </a:cubicBezTo>
                  <a:cubicBezTo>
                    <a:pt x="88" y="75"/>
                    <a:pt x="88" y="75"/>
                    <a:pt x="88" y="75"/>
                  </a:cubicBezTo>
                  <a:cubicBezTo>
                    <a:pt x="87" y="76"/>
                    <a:pt x="86" y="76"/>
                    <a:pt x="84" y="76"/>
                  </a:cubicBezTo>
                  <a:cubicBezTo>
                    <a:pt x="84" y="76"/>
                    <a:pt x="83" y="75"/>
                    <a:pt x="82" y="75"/>
                  </a:cubicBezTo>
                  <a:cubicBezTo>
                    <a:pt x="82" y="75"/>
                    <a:pt x="81" y="74"/>
                    <a:pt x="81" y="74"/>
                  </a:cubicBezTo>
                  <a:cubicBezTo>
                    <a:pt x="80" y="72"/>
                    <a:pt x="80" y="69"/>
                    <a:pt x="81" y="66"/>
                  </a:cubicBezTo>
                  <a:cubicBezTo>
                    <a:pt x="81" y="65"/>
                    <a:pt x="81" y="65"/>
                    <a:pt x="81" y="65"/>
                  </a:cubicBezTo>
                  <a:cubicBezTo>
                    <a:pt x="80" y="65"/>
                    <a:pt x="80" y="65"/>
                    <a:pt x="80" y="65"/>
                  </a:cubicBezTo>
                  <a:cubicBezTo>
                    <a:pt x="74" y="62"/>
                    <a:pt x="68" y="60"/>
                    <a:pt x="63" y="58"/>
                  </a:cubicBezTo>
                  <a:cubicBezTo>
                    <a:pt x="63" y="57"/>
                    <a:pt x="63" y="57"/>
                    <a:pt x="63" y="57"/>
                  </a:cubicBezTo>
                  <a:cubicBezTo>
                    <a:pt x="63" y="57"/>
                    <a:pt x="63" y="57"/>
                    <a:pt x="63" y="57"/>
                  </a:cubicBezTo>
                  <a:cubicBezTo>
                    <a:pt x="53" y="61"/>
                    <a:pt x="45" y="64"/>
                    <a:pt x="40" y="66"/>
                  </a:cubicBezTo>
                  <a:cubicBezTo>
                    <a:pt x="38" y="67"/>
                    <a:pt x="36" y="68"/>
                    <a:pt x="35" y="69"/>
                  </a:cubicBezTo>
                  <a:cubicBezTo>
                    <a:pt x="33" y="70"/>
                    <a:pt x="33" y="70"/>
                    <a:pt x="33" y="70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51">
              <a:extLst>
                <a:ext uri="{FF2B5EF4-FFF2-40B4-BE49-F238E27FC236}">
                  <a16:creationId xmlns:a16="http://schemas.microsoft.com/office/drawing/2014/main" id="{43BB14E9-695B-40F3-994D-53ABF34201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1" y="2135"/>
              <a:ext cx="114" cy="128"/>
            </a:xfrm>
            <a:custGeom>
              <a:avLst/>
              <a:gdLst>
                <a:gd name="T0" fmla="*/ 0 w 48"/>
                <a:gd name="T1" fmla="*/ 0 h 54"/>
                <a:gd name="T2" fmla="*/ 9 w 48"/>
                <a:gd name="T3" fmla="*/ 5 h 54"/>
                <a:gd name="T4" fmla="*/ 32 w 48"/>
                <a:gd name="T5" fmla="*/ 13 h 54"/>
                <a:gd name="T6" fmla="*/ 32 w 48"/>
                <a:gd name="T7" fmla="*/ 13 h 54"/>
                <a:gd name="T8" fmla="*/ 32 w 48"/>
                <a:gd name="T9" fmla="*/ 17 h 54"/>
                <a:gd name="T10" fmla="*/ 41 w 48"/>
                <a:gd name="T11" fmla="*/ 44 h 54"/>
                <a:gd name="T12" fmla="*/ 45 w 48"/>
                <a:gd name="T13" fmla="*/ 51 h 54"/>
                <a:gd name="T14" fmla="*/ 48 w 48"/>
                <a:gd name="T15" fmla="*/ 54 h 54"/>
                <a:gd name="T16" fmla="*/ 42 w 48"/>
                <a:gd name="T17" fmla="*/ 43 h 54"/>
                <a:gd name="T18" fmla="*/ 34 w 48"/>
                <a:gd name="T19" fmla="*/ 17 h 54"/>
                <a:gd name="T20" fmla="*/ 34 w 48"/>
                <a:gd name="T21" fmla="*/ 12 h 54"/>
                <a:gd name="T22" fmla="*/ 34 w 48"/>
                <a:gd name="T23" fmla="*/ 12 h 54"/>
                <a:gd name="T24" fmla="*/ 33 w 48"/>
                <a:gd name="T25" fmla="*/ 12 h 54"/>
                <a:gd name="T26" fmla="*/ 10 w 48"/>
                <a:gd name="T27" fmla="*/ 4 h 54"/>
                <a:gd name="T28" fmla="*/ 0 w 48"/>
                <a:gd name="T2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" h="54">
                  <a:moveTo>
                    <a:pt x="0" y="0"/>
                  </a:moveTo>
                  <a:cubicBezTo>
                    <a:pt x="0" y="0"/>
                    <a:pt x="3" y="3"/>
                    <a:pt x="9" y="5"/>
                  </a:cubicBezTo>
                  <a:cubicBezTo>
                    <a:pt x="15" y="8"/>
                    <a:pt x="23" y="11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4"/>
                    <a:pt x="32" y="16"/>
                    <a:pt x="32" y="17"/>
                  </a:cubicBezTo>
                  <a:cubicBezTo>
                    <a:pt x="33" y="28"/>
                    <a:pt x="37" y="38"/>
                    <a:pt x="41" y="44"/>
                  </a:cubicBezTo>
                  <a:cubicBezTo>
                    <a:pt x="43" y="47"/>
                    <a:pt x="44" y="50"/>
                    <a:pt x="45" y="51"/>
                  </a:cubicBezTo>
                  <a:cubicBezTo>
                    <a:pt x="47" y="53"/>
                    <a:pt x="47" y="54"/>
                    <a:pt x="48" y="54"/>
                  </a:cubicBezTo>
                  <a:cubicBezTo>
                    <a:pt x="48" y="53"/>
                    <a:pt x="45" y="50"/>
                    <a:pt x="42" y="43"/>
                  </a:cubicBezTo>
                  <a:cubicBezTo>
                    <a:pt x="39" y="37"/>
                    <a:pt x="35" y="28"/>
                    <a:pt x="34" y="17"/>
                  </a:cubicBezTo>
                  <a:cubicBezTo>
                    <a:pt x="34" y="16"/>
                    <a:pt x="34" y="14"/>
                    <a:pt x="34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23" y="10"/>
                    <a:pt x="15" y="7"/>
                    <a:pt x="10" y="4"/>
                  </a:cubicBezTo>
                  <a:cubicBezTo>
                    <a:pt x="4" y="2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52">
              <a:extLst>
                <a:ext uri="{FF2B5EF4-FFF2-40B4-BE49-F238E27FC236}">
                  <a16:creationId xmlns:a16="http://schemas.microsoft.com/office/drawing/2014/main" id="{7C1BEC57-F272-4D76-A421-D4E936B617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6" y="2192"/>
              <a:ext cx="31" cy="81"/>
            </a:xfrm>
            <a:custGeom>
              <a:avLst/>
              <a:gdLst>
                <a:gd name="T0" fmla="*/ 1 w 13"/>
                <a:gd name="T1" fmla="*/ 0 h 34"/>
                <a:gd name="T2" fmla="*/ 3 w 13"/>
                <a:gd name="T3" fmla="*/ 18 h 34"/>
                <a:gd name="T4" fmla="*/ 13 w 13"/>
                <a:gd name="T5" fmla="*/ 34 h 34"/>
                <a:gd name="T6" fmla="*/ 5 w 13"/>
                <a:gd name="T7" fmla="*/ 18 h 34"/>
                <a:gd name="T8" fmla="*/ 1 w 13"/>
                <a:gd name="T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34">
                  <a:moveTo>
                    <a:pt x="1" y="0"/>
                  </a:moveTo>
                  <a:cubicBezTo>
                    <a:pt x="0" y="0"/>
                    <a:pt x="0" y="9"/>
                    <a:pt x="3" y="18"/>
                  </a:cubicBezTo>
                  <a:cubicBezTo>
                    <a:pt x="7" y="28"/>
                    <a:pt x="13" y="34"/>
                    <a:pt x="13" y="34"/>
                  </a:cubicBezTo>
                  <a:cubicBezTo>
                    <a:pt x="13" y="34"/>
                    <a:pt x="9" y="27"/>
                    <a:pt x="5" y="18"/>
                  </a:cubicBezTo>
                  <a:cubicBezTo>
                    <a:pt x="2" y="8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53">
              <a:extLst>
                <a:ext uri="{FF2B5EF4-FFF2-40B4-BE49-F238E27FC236}">
                  <a16:creationId xmlns:a16="http://schemas.microsoft.com/office/drawing/2014/main" id="{5E5D9797-E03B-4F7D-ADAA-4A4CAAD579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1" y="2152"/>
              <a:ext cx="214" cy="99"/>
            </a:xfrm>
            <a:custGeom>
              <a:avLst/>
              <a:gdLst>
                <a:gd name="T0" fmla="*/ 0 w 90"/>
                <a:gd name="T1" fmla="*/ 34 h 42"/>
                <a:gd name="T2" fmla="*/ 1 w 90"/>
                <a:gd name="T3" fmla="*/ 34 h 42"/>
                <a:gd name="T4" fmla="*/ 4 w 90"/>
                <a:gd name="T5" fmla="*/ 36 h 42"/>
                <a:gd name="T6" fmla="*/ 15 w 90"/>
                <a:gd name="T7" fmla="*/ 41 h 42"/>
                <a:gd name="T8" fmla="*/ 33 w 90"/>
                <a:gd name="T9" fmla="*/ 39 h 42"/>
                <a:gd name="T10" fmla="*/ 50 w 90"/>
                <a:gd name="T11" fmla="*/ 24 h 42"/>
                <a:gd name="T12" fmla="*/ 49 w 90"/>
                <a:gd name="T13" fmla="*/ 25 h 42"/>
                <a:gd name="T14" fmla="*/ 69 w 90"/>
                <a:gd name="T15" fmla="*/ 31 h 42"/>
                <a:gd name="T16" fmla="*/ 77 w 90"/>
                <a:gd name="T17" fmla="*/ 32 h 42"/>
                <a:gd name="T18" fmla="*/ 85 w 90"/>
                <a:gd name="T19" fmla="*/ 31 h 42"/>
                <a:gd name="T20" fmla="*/ 89 w 90"/>
                <a:gd name="T21" fmla="*/ 29 h 42"/>
                <a:gd name="T22" fmla="*/ 90 w 90"/>
                <a:gd name="T23" fmla="*/ 25 h 42"/>
                <a:gd name="T24" fmla="*/ 87 w 90"/>
                <a:gd name="T25" fmla="*/ 21 h 42"/>
                <a:gd name="T26" fmla="*/ 84 w 90"/>
                <a:gd name="T27" fmla="*/ 20 h 42"/>
                <a:gd name="T28" fmla="*/ 61 w 90"/>
                <a:gd name="T29" fmla="*/ 9 h 42"/>
                <a:gd name="T30" fmla="*/ 46 w 90"/>
                <a:gd name="T31" fmla="*/ 2 h 42"/>
                <a:gd name="T32" fmla="*/ 40 w 90"/>
                <a:gd name="T33" fmla="*/ 1 h 42"/>
                <a:gd name="T34" fmla="*/ 46 w 90"/>
                <a:gd name="T35" fmla="*/ 3 h 42"/>
                <a:gd name="T36" fmla="*/ 61 w 90"/>
                <a:gd name="T37" fmla="*/ 10 h 42"/>
                <a:gd name="T38" fmla="*/ 83 w 90"/>
                <a:gd name="T39" fmla="*/ 21 h 42"/>
                <a:gd name="T40" fmla="*/ 86 w 90"/>
                <a:gd name="T41" fmla="*/ 23 h 42"/>
                <a:gd name="T42" fmla="*/ 88 w 90"/>
                <a:gd name="T43" fmla="*/ 25 h 42"/>
                <a:gd name="T44" fmla="*/ 87 w 90"/>
                <a:gd name="T45" fmla="*/ 28 h 42"/>
                <a:gd name="T46" fmla="*/ 85 w 90"/>
                <a:gd name="T47" fmla="*/ 30 h 42"/>
                <a:gd name="T48" fmla="*/ 77 w 90"/>
                <a:gd name="T49" fmla="*/ 30 h 42"/>
                <a:gd name="T50" fmla="*/ 70 w 90"/>
                <a:gd name="T51" fmla="*/ 29 h 42"/>
                <a:gd name="T52" fmla="*/ 49 w 90"/>
                <a:gd name="T53" fmla="*/ 23 h 42"/>
                <a:gd name="T54" fmla="*/ 49 w 90"/>
                <a:gd name="T55" fmla="*/ 22 h 42"/>
                <a:gd name="T56" fmla="*/ 48 w 90"/>
                <a:gd name="T57" fmla="*/ 23 h 42"/>
                <a:gd name="T58" fmla="*/ 32 w 90"/>
                <a:gd name="T59" fmla="*/ 38 h 42"/>
                <a:gd name="T60" fmla="*/ 15 w 90"/>
                <a:gd name="T61" fmla="*/ 39 h 42"/>
                <a:gd name="T62" fmla="*/ 4 w 90"/>
                <a:gd name="T63" fmla="*/ 36 h 42"/>
                <a:gd name="T64" fmla="*/ 0 w 90"/>
                <a:gd name="T65" fmla="*/ 3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0" h="42">
                  <a:moveTo>
                    <a:pt x="0" y="34"/>
                  </a:moveTo>
                  <a:cubicBezTo>
                    <a:pt x="0" y="34"/>
                    <a:pt x="0" y="34"/>
                    <a:pt x="1" y="34"/>
                  </a:cubicBezTo>
                  <a:cubicBezTo>
                    <a:pt x="1" y="35"/>
                    <a:pt x="2" y="36"/>
                    <a:pt x="4" y="36"/>
                  </a:cubicBezTo>
                  <a:cubicBezTo>
                    <a:pt x="6" y="38"/>
                    <a:pt x="10" y="40"/>
                    <a:pt x="15" y="41"/>
                  </a:cubicBezTo>
                  <a:cubicBezTo>
                    <a:pt x="20" y="42"/>
                    <a:pt x="26" y="42"/>
                    <a:pt x="33" y="39"/>
                  </a:cubicBezTo>
                  <a:cubicBezTo>
                    <a:pt x="39" y="37"/>
                    <a:pt x="46" y="32"/>
                    <a:pt x="50" y="24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55" y="27"/>
                    <a:pt x="62" y="30"/>
                    <a:pt x="69" y="31"/>
                  </a:cubicBezTo>
                  <a:cubicBezTo>
                    <a:pt x="72" y="31"/>
                    <a:pt x="75" y="32"/>
                    <a:pt x="77" y="32"/>
                  </a:cubicBezTo>
                  <a:cubicBezTo>
                    <a:pt x="80" y="32"/>
                    <a:pt x="83" y="32"/>
                    <a:pt x="85" y="31"/>
                  </a:cubicBezTo>
                  <a:cubicBezTo>
                    <a:pt x="87" y="31"/>
                    <a:pt x="88" y="30"/>
                    <a:pt x="89" y="29"/>
                  </a:cubicBezTo>
                  <a:cubicBezTo>
                    <a:pt x="90" y="28"/>
                    <a:pt x="90" y="26"/>
                    <a:pt x="90" y="25"/>
                  </a:cubicBezTo>
                  <a:cubicBezTo>
                    <a:pt x="89" y="23"/>
                    <a:pt x="88" y="22"/>
                    <a:pt x="87" y="21"/>
                  </a:cubicBezTo>
                  <a:cubicBezTo>
                    <a:pt x="86" y="21"/>
                    <a:pt x="85" y="20"/>
                    <a:pt x="84" y="20"/>
                  </a:cubicBezTo>
                  <a:cubicBezTo>
                    <a:pt x="76" y="15"/>
                    <a:pt x="68" y="12"/>
                    <a:pt x="61" y="9"/>
                  </a:cubicBezTo>
                  <a:cubicBezTo>
                    <a:pt x="55" y="6"/>
                    <a:pt x="50" y="4"/>
                    <a:pt x="46" y="2"/>
                  </a:cubicBezTo>
                  <a:cubicBezTo>
                    <a:pt x="42" y="1"/>
                    <a:pt x="40" y="0"/>
                    <a:pt x="40" y="1"/>
                  </a:cubicBezTo>
                  <a:cubicBezTo>
                    <a:pt x="40" y="1"/>
                    <a:pt x="42" y="2"/>
                    <a:pt x="46" y="3"/>
                  </a:cubicBezTo>
                  <a:cubicBezTo>
                    <a:pt x="49" y="5"/>
                    <a:pt x="55" y="7"/>
                    <a:pt x="61" y="10"/>
                  </a:cubicBezTo>
                  <a:cubicBezTo>
                    <a:pt x="67" y="13"/>
                    <a:pt x="75" y="17"/>
                    <a:pt x="83" y="21"/>
                  </a:cubicBezTo>
                  <a:cubicBezTo>
                    <a:pt x="84" y="22"/>
                    <a:pt x="85" y="22"/>
                    <a:pt x="86" y="23"/>
                  </a:cubicBezTo>
                  <a:cubicBezTo>
                    <a:pt x="87" y="23"/>
                    <a:pt x="87" y="24"/>
                    <a:pt x="88" y="25"/>
                  </a:cubicBezTo>
                  <a:cubicBezTo>
                    <a:pt x="88" y="26"/>
                    <a:pt x="88" y="27"/>
                    <a:pt x="87" y="28"/>
                  </a:cubicBezTo>
                  <a:cubicBezTo>
                    <a:pt x="87" y="29"/>
                    <a:pt x="86" y="29"/>
                    <a:pt x="85" y="30"/>
                  </a:cubicBezTo>
                  <a:cubicBezTo>
                    <a:pt x="82" y="30"/>
                    <a:pt x="80" y="30"/>
                    <a:pt x="77" y="30"/>
                  </a:cubicBezTo>
                  <a:cubicBezTo>
                    <a:pt x="75" y="30"/>
                    <a:pt x="72" y="30"/>
                    <a:pt x="70" y="29"/>
                  </a:cubicBezTo>
                  <a:cubicBezTo>
                    <a:pt x="62" y="28"/>
                    <a:pt x="55" y="26"/>
                    <a:pt x="49" y="23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4" y="30"/>
                    <a:pt x="38" y="35"/>
                    <a:pt x="32" y="38"/>
                  </a:cubicBezTo>
                  <a:cubicBezTo>
                    <a:pt x="26" y="40"/>
                    <a:pt x="20" y="40"/>
                    <a:pt x="15" y="39"/>
                  </a:cubicBezTo>
                  <a:cubicBezTo>
                    <a:pt x="10" y="39"/>
                    <a:pt x="6" y="37"/>
                    <a:pt x="4" y="36"/>
                  </a:cubicBezTo>
                  <a:cubicBezTo>
                    <a:pt x="1" y="34"/>
                    <a:pt x="0" y="34"/>
                    <a:pt x="0" y="34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54">
              <a:extLst>
                <a:ext uri="{FF2B5EF4-FFF2-40B4-BE49-F238E27FC236}">
                  <a16:creationId xmlns:a16="http://schemas.microsoft.com/office/drawing/2014/main" id="{29549B6D-D2EB-4D35-A230-2FC6784DA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1" y="3524"/>
              <a:ext cx="69" cy="52"/>
            </a:xfrm>
            <a:custGeom>
              <a:avLst/>
              <a:gdLst>
                <a:gd name="T0" fmla="*/ 13 w 29"/>
                <a:gd name="T1" fmla="*/ 20 h 22"/>
                <a:gd name="T2" fmla="*/ 12 w 29"/>
                <a:gd name="T3" fmla="*/ 16 h 22"/>
                <a:gd name="T4" fmla="*/ 9 w 29"/>
                <a:gd name="T5" fmla="*/ 7 h 22"/>
                <a:gd name="T6" fmla="*/ 6 w 29"/>
                <a:gd name="T7" fmla="*/ 4 h 22"/>
                <a:gd name="T8" fmla="*/ 2 w 29"/>
                <a:gd name="T9" fmla="*/ 3 h 22"/>
                <a:gd name="T10" fmla="*/ 0 w 29"/>
                <a:gd name="T11" fmla="*/ 5 h 22"/>
                <a:gd name="T12" fmla="*/ 0 w 29"/>
                <a:gd name="T13" fmla="*/ 8 h 22"/>
                <a:gd name="T14" fmla="*/ 2 w 29"/>
                <a:gd name="T15" fmla="*/ 11 h 22"/>
                <a:gd name="T16" fmla="*/ 7 w 29"/>
                <a:gd name="T17" fmla="*/ 19 h 22"/>
                <a:gd name="T18" fmla="*/ 12 w 29"/>
                <a:gd name="T19" fmla="*/ 22 h 22"/>
                <a:gd name="T20" fmla="*/ 17 w 29"/>
                <a:gd name="T21" fmla="*/ 19 h 22"/>
                <a:gd name="T22" fmla="*/ 24 w 29"/>
                <a:gd name="T23" fmla="*/ 13 h 22"/>
                <a:gd name="T24" fmla="*/ 27 w 29"/>
                <a:gd name="T25" fmla="*/ 9 h 22"/>
                <a:gd name="T26" fmla="*/ 29 w 29"/>
                <a:gd name="T27" fmla="*/ 5 h 22"/>
                <a:gd name="T28" fmla="*/ 27 w 29"/>
                <a:gd name="T29" fmla="*/ 0 h 22"/>
                <a:gd name="T30" fmla="*/ 22 w 29"/>
                <a:gd name="T31" fmla="*/ 1 h 22"/>
                <a:gd name="T32" fmla="*/ 17 w 29"/>
                <a:gd name="T33" fmla="*/ 7 h 22"/>
                <a:gd name="T34" fmla="*/ 13 w 29"/>
                <a:gd name="T35" fmla="*/ 16 h 22"/>
                <a:gd name="T36" fmla="*/ 12 w 29"/>
                <a:gd name="T37" fmla="*/ 19 h 22"/>
                <a:gd name="T38" fmla="*/ 19 w 29"/>
                <a:gd name="T39" fmla="*/ 8 h 22"/>
                <a:gd name="T40" fmla="*/ 23 w 29"/>
                <a:gd name="T41" fmla="*/ 3 h 22"/>
                <a:gd name="T42" fmla="*/ 26 w 29"/>
                <a:gd name="T43" fmla="*/ 2 h 22"/>
                <a:gd name="T44" fmla="*/ 27 w 29"/>
                <a:gd name="T45" fmla="*/ 4 h 22"/>
                <a:gd name="T46" fmla="*/ 25 w 29"/>
                <a:gd name="T47" fmla="*/ 8 h 22"/>
                <a:gd name="T48" fmla="*/ 22 w 29"/>
                <a:gd name="T49" fmla="*/ 11 h 22"/>
                <a:gd name="T50" fmla="*/ 15 w 29"/>
                <a:gd name="T51" fmla="*/ 18 h 22"/>
                <a:gd name="T52" fmla="*/ 12 w 29"/>
                <a:gd name="T53" fmla="*/ 19 h 22"/>
                <a:gd name="T54" fmla="*/ 9 w 29"/>
                <a:gd name="T55" fmla="*/ 18 h 22"/>
                <a:gd name="T56" fmla="*/ 4 w 29"/>
                <a:gd name="T57" fmla="*/ 10 h 22"/>
                <a:gd name="T58" fmla="*/ 2 w 29"/>
                <a:gd name="T59" fmla="*/ 7 h 22"/>
                <a:gd name="T60" fmla="*/ 3 w 29"/>
                <a:gd name="T61" fmla="*/ 5 h 22"/>
                <a:gd name="T62" fmla="*/ 7 w 29"/>
                <a:gd name="T63" fmla="*/ 8 h 22"/>
                <a:gd name="T64" fmla="*/ 13 w 29"/>
                <a:gd name="T65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9" h="22">
                  <a:moveTo>
                    <a:pt x="13" y="20"/>
                  </a:moveTo>
                  <a:cubicBezTo>
                    <a:pt x="13" y="20"/>
                    <a:pt x="13" y="19"/>
                    <a:pt x="12" y="16"/>
                  </a:cubicBezTo>
                  <a:cubicBezTo>
                    <a:pt x="12" y="14"/>
                    <a:pt x="11" y="11"/>
                    <a:pt x="9" y="7"/>
                  </a:cubicBezTo>
                  <a:cubicBezTo>
                    <a:pt x="8" y="6"/>
                    <a:pt x="7" y="5"/>
                    <a:pt x="6" y="4"/>
                  </a:cubicBezTo>
                  <a:cubicBezTo>
                    <a:pt x="5" y="3"/>
                    <a:pt x="4" y="3"/>
                    <a:pt x="2" y="3"/>
                  </a:cubicBezTo>
                  <a:cubicBezTo>
                    <a:pt x="1" y="3"/>
                    <a:pt x="0" y="4"/>
                    <a:pt x="0" y="5"/>
                  </a:cubicBezTo>
                  <a:cubicBezTo>
                    <a:pt x="0" y="6"/>
                    <a:pt x="0" y="7"/>
                    <a:pt x="0" y="8"/>
                  </a:cubicBezTo>
                  <a:cubicBezTo>
                    <a:pt x="1" y="9"/>
                    <a:pt x="2" y="10"/>
                    <a:pt x="2" y="11"/>
                  </a:cubicBezTo>
                  <a:cubicBezTo>
                    <a:pt x="4" y="14"/>
                    <a:pt x="5" y="16"/>
                    <a:pt x="7" y="19"/>
                  </a:cubicBezTo>
                  <a:cubicBezTo>
                    <a:pt x="8" y="21"/>
                    <a:pt x="10" y="22"/>
                    <a:pt x="12" y="22"/>
                  </a:cubicBezTo>
                  <a:cubicBezTo>
                    <a:pt x="14" y="21"/>
                    <a:pt x="15" y="20"/>
                    <a:pt x="17" y="19"/>
                  </a:cubicBezTo>
                  <a:cubicBezTo>
                    <a:pt x="20" y="17"/>
                    <a:pt x="22" y="15"/>
                    <a:pt x="24" y="13"/>
                  </a:cubicBezTo>
                  <a:cubicBezTo>
                    <a:pt x="25" y="12"/>
                    <a:pt x="26" y="10"/>
                    <a:pt x="27" y="9"/>
                  </a:cubicBezTo>
                  <a:cubicBezTo>
                    <a:pt x="28" y="8"/>
                    <a:pt x="29" y="7"/>
                    <a:pt x="29" y="5"/>
                  </a:cubicBezTo>
                  <a:cubicBezTo>
                    <a:pt x="29" y="3"/>
                    <a:pt x="29" y="1"/>
                    <a:pt x="27" y="0"/>
                  </a:cubicBezTo>
                  <a:cubicBezTo>
                    <a:pt x="25" y="0"/>
                    <a:pt x="23" y="0"/>
                    <a:pt x="22" y="1"/>
                  </a:cubicBezTo>
                  <a:cubicBezTo>
                    <a:pt x="20" y="3"/>
                    <a:pt x="19" y="5"/>
                    <a:pt x="17" y="7"/>
                  </a:cubicBezTo>
                  <a:cubicBezTo>
                    <a:pt x="15" y="10"/>
                    <a:pt x="14" y="14"/>
                    <a:pt x="13" y="16"/>
                  </a:cubicBezTo>
                  <a:cubicBezTo>
                    <a:pt x="12" y="18"/>
                    <a:pt x="12" y="19"/>
                    <a:pt x="12" y="19"/>
                  </a:cubicBezTo>
                  <a:cubicBezTo>
                    <a:pt x="12" y="20"/>
                    <a:pt x="14" y="14"/>
                    <a:pt x="19" y="8"/>
                  </a:cubicBezTo>
                  <a:cubicBezTo>
                    <a:pt x="20" y="6"/>
                    <a:pt x="22" y="4"/>
                    <a:pt x="23" y="3"/>
                  </a:cubicBezTo>
                  <a:cubicBezTo>
                    <a:pt x="24" y="2"/>
                    <a:pt x="25" y="2"/>
                    <a:pt x="26" y="2"/>
                  </a:cubicBezTo>
                  <a:cubicBezTo>
                    <a:pt x="27" y="2"/>
                    <a:pt x="27" y="3"/>
                    <a:pt x="27" y="4"/>
                  </a:cubicBezTo>
                  <a:cubicBezTo>
                    <a:pt x="27" y="5"/>
                    <a:pt x="26" y="7"/>
                    <a:pt x="25" y="8"/>
                  </a:cubicBezTo>
                  <a:cubicBezTo>
                    <a:pt x="24" y="9"/>
                    <a:pt x="23" y="10"/>
                    <a:pt x="22" y="11"/>
                  </a:cubicBezTo>
                  <a:cubicBezTo>
                    <a:pt x="20" y="14"/>
                    <a:pt x="18" y="16"/>
                    <a:pt x="15" y="18"/>
                  </a:cubicBezTo>
                  <a:cubicBezTo>
                    <a:pt x="14" y="18"/>
                    <a:pt x="13" y="19"/>
                    <a:pt x="12" y="19"/>
                  </a:cubicBezTo>
                  <a:cubicBezTo>
                    <a:pt x="10" y="19"/>
                    <a:pt x="9" y="19"/>
                    <a:pt x="9" y="18"/>
                  </a:cubicBezTo>
                  <a:cubicBezTo>
                    <a:pt x="7" y="16"/>
                    <a:pt x="6" y="13"/>
                    <a:pt x="4" y="10"/>
                  </a:cubicBezTo>
                  <a:cubicBezTo>
                    <a:pt x="3" y="9"/>
                    <a:pt x="3" y="8"/>
                    <a:pt x="2" y="7"/>
                  </a:cubicBezTo>
                  <a:cubicBezTo>
                    <a:pt x="2" y="6"/>
                    <a:pt x="2" y="5"/>
                    <a:pt x="3" y="5"/>
                  </a:cubicBezTo>
                  <a:cubicBezTo>
                    <a:pt x="4" y="4"/>
                    <a:pt x="6" y="6"/>
                    <a:pt x="7" y="8"/>
                  </a:cubicBezTo>
                  <a:cubicBezTo>
                    <a:pt x="12" y="15"/>
                    <a:pt x="12" y="20"/>
                    <a:pt x="13" y="2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55">
              <a:extLst>
                <a:ext uri="{FF2B5EF4-FFF2-40B4-BE49-F238E27FC236}">
                  <a16:creationId xmlns:a16="http://schemas.microsoft.com/office/drawing/2014/main" id="{F8F42D6B-9914-4645-B928-F849873FAD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7" y="3434"/>
              <a:ext cx="302" cy="396"/>
            </a:xfrm>
            <a:custGeom>
              <a:avLst/>
              <a:gdLst>
                <a:gd name="T0" fmla="*/ 302 w 302"/>
                <a:gd name="T1" fmla="*/ 147 h 396"/>
                <a:gd name="T2" fmla="*/ 185 w 302"/>
                <a:gd name="T3" fmla="*/ 396 h 396"/>
                <a:gd name="T4" fmla="*/ 0 w 302"/>
                <a:gd name="T5" fmla="*/ 311 h 396"/>
                <a:gd name="T6" fmla="*/ 119 w 302"/>
                <a:gd name="T7" fmla="*/ 0 h 396"/>
                <a:gd name="T8" fmla="*/ 302 w 302"/>
                <a:gd name="T9" fmla="*/ 147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2" h="396">
                  <a:moveTo>
                    <a:pt x="302" y="147"/>
                  </a:moveTo>
                  <a:lnTo>
                    <a:pt x="185" y="396"/>
                  </a:lnTo>
                  <a:lnTo>
                    <a:pt x="0" y="311"/>
                  </a:lnTo>
                  <a:lnTo>
                    <a:pt x="119" y="0"/>
                  </a:lnTo>
                  <a:lnTo>
                    <a:pt x="302" y="147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56">
              <a:extLst>
                <a:ext uri="{FF2B5EF4-FFF2-40B4-BE49-F238E27FC236}">
                  <a16:creationId xmlns:a16="http://schemas.microsoft.com/office/drawing/2014/main" id="{4C21063E-F307-462B-A512-712C5276DF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8" y="3707"/>
              <a:ext cx="423" cy="451"/>
            </a:xfrm>
            <a:custGeom>
              <a:avLst/>
              <a:gdLst>
                <a:gd name="T0" fmla="*/ 134 w 178"/>
                <a:gd name="T1" fmla="*/ 45 h 190"/>
                <a:gd name="T2" fmla="*/ 105 w 178"/>
                <a:gd name="T3" fmla="*/ 99 h 190"/>
                <a:gd name="T4" fmla="*/ 171 w 178"/>
                <a:gd name="T5" fmla="*/ 190 h 190"/>
                <a:gd name="T6" fmla="*/ 0 w 178"/>
                <a:gd name="T7" fmla="*/ 109 h 190"/>
                <a:gd name="T8" fmla="*/ 47 w 178"/>
                <a:gd name="T9" fmla="*/ 0 h 190"/>
                <a:gd name="T10" fmla="*/ 134 w 178"/>
                <a:gd name="T11" fmla="*/ 45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8" h="190">
                  <a:moveTo>
                    <a:pt x="134" y="45"/>
                  </a:moveTo>
                  <a:cubicBezTo>
                    <a:pt x="105" y="99"/>
                    <a:pt x="105" y="99"/>
                    <a:pt x="105" y="99"/>
                  </a:cubicBezTo>
                  <a:cubicBezTo>
                    <a:pt x="105" y="99"/>
                    <a:pt x="178" y="174"/>
                    <a:pt x="171" y="190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34" y="45"/>
                    <a:pt x="134" y="45"/>
                    <a:pt x="134" y="45"/>
                  </a:cubicBezTo>
                </a:path>
              </a:pathLst>
            </a:custGeom>
            <a:solidFill>
              <a:srgbClr val="F3D4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57">
              <a:extLst>
                <a:ext uri="{FF2B5EF4-FFF2-40B4-BE49-F238E27FC236}">
                  <a16:creationId xmlns:a16="http://schemas.microsoft.com/office/drawing/2014/main" id="{3FA31359-67F8-416A-88FB-A0ECF5B6C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9" y="3861"/>
              <a:ext cx="36" cy="38"/>
            </a:xfrm>
            <a:custGeom>
              <a:avLst/>
              <a:gdLst>
                <a:gd name="T0" fmla="*/ 9 w 15"/>
                <a:gd name="T1" fmla="*/ 1 h 16"/>
                <a:gd name="T2" fmla="*/ 0 w 15"/>
                <a:gd name="T3" fmla="*/ 7 h 16"/>
                <a:gd name="T4" fmla="*/ 6 w 15"/>
                <a:gd name="T5" fmla="*/ 15 h 16"/>
                <a:gd name="T6" fmla="*/ 15 w 15"/>
                <a:gd name="T7" fmla="*/ 9 h 16"/>
                <a:gd name="T8" fmla="*/ 8 w 15"/>
                <a:gd name="T9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9" y="1"/>
                  </a:moveTo>
                  <a:cubicBezTo>
                    <a:pt x="5" y="0"/>
                    <a:pt x="1" y="3"/>
                    <a:pt x="0" y="7"/>
                  </a:cubicBezTo>
                  <a:cubicBezTo>
                    <a:pt x="0" y="10"/>
                    <a:pt x="2" y="15"/>
                    <a:pt x="6" y="15"/>
                  </a:cubicBezTo>
                  <a:cubicBezTo>
                    <a:pt x="10" y="16"/>
                    <a:pt x="15" y="13"/>
                    <a:pt x="15" y="9"/>
                  </a:cubicBezTo>
                  <a:cubicBezTo>
                    <a:pt x="15" y="5"/>
                    <a:pt x="12" y="1"/>
                    <a:pt x="8" y="1"/>
                  </a:cubicBezTo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58">
              <a:extLst>
                <a:ext uri="{FF2B5EF4-FFF2-40B4-BE49-F238E27FC236}">
                  <a16:creationId xmlns:a16="http://schemas.microsoft.com/office/drawing/2014/main" id="{7C8B9CCF-33CB-4A2A-8446-6039205828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9" y="4134"/>
              <a:ext cx="10" cy="24"/>
            </a:xfrm>
            <a:custGeom>
              <a:avLst/>
              <a:gdLst>
                <a:gd name="T0" fmla="*/ 0 w 4"/>
                <a:gd name="T1" fmla="*/ 0 h 10"/>
                <a:gd name="T2" fmla="*/ 2 w 4"/>
                <a:gd name="T3" fmla="*/ 10 h 10"/>
                <a:gd name="T4" fmla="*/ 0 w 4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0">
                  <a:moveTo>
                    <a:pt x="0" y="0"/>
                  </a:moveTo>
                  <a:cubicBezTo>
                    <a:pt x="2" y="4"/>
                    <a:pt x="3" y="8"/>
                    <a:pt x="2" y="10"/>
                  </a:cubicBezTo>
                  <a:cubicBezTo>
                    <a:pt x="4" y="7"/>
                    <a:pt x="2" y="2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59">
              <a:extLst>
                <a:ext uri="{FF2B5EF4-FFF2-40B4-BE49-F238E27FC236}">
                  <a16:creationId xmlns:a16="http://schemas.microsoft.com/office/drawing/2014/main" id="{AEF6004C-1698-489F-B010-BDF0E7924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8" y="3932"/>
              <a:ext cx="408" cy="226"/>
            </a:xfrm>
            <a:custGeom>
              <a:avLst/>
              <a:gdLst>
                <a:gd name="T0" fmla="*/ 8 w 172"/>
                <a:gd name="T1" fmla="*/ 0 h 95"/>
                <a:gd name="T2" fmla="*/ 0 w 172"/>
                <a:gd name="T3" fmla="*/ 14 h 95"/>
                <a:gd name="T4" fmla="*/ 171 w 172"/>
                <a:gd name="T5" fmla="*/ 95 h 95"/>
                <a:gd name="T6" fmla="*/ 171 w 172"/>
                <a:gd name="T7" fmla="*/ 95 h 95"/>
                <a:gd name="T8" fmla="*/ 169 w 172"/>
                <a:gd name="T9" fmla="*/ 85 h 95"/>
                <a:gd name="T10" fmla="*/ 168 w 172"/>
                <a:gd name="T11" fmla="*/ 84 h 95"/>
                <a:gd name="T12" fmla="*/ 8 w 172"/>
                <a:gd name="T13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2" h="95">
                  <a:moveTo>
                    <a:pt x="8" y="0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171" y="95"/>
                    <a:pt x="171" y="95"/>
                    <a:pt x="171" y="95"/>
                  </a:cubicBezTo>
                  <a:cubicBezTo>
                    <a:pt x="171" y="95"/>
                    <a:pt x="171" y="95"/>
                    <a:pt x="171" y="95"/>
                  </a:cubicBezTo>
                  <a:cubicBezTo>
                    <a:pt x="172" y="93"/>
                    <a:pt x="171" y="89"/>
                    <a:pt x="169" y="85"/>
                  </a:cubicBezTo>
                  <a:cubicBezTo>
                    <a:pt x="169" y="84"/>
                    <a:pt x="168" y="84"/>
                    <a:pt x="168" y="84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solidFill>
              <a:srgbClr val="FAEE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60">
              <a:extLst>
                <a:ext uri="{FF2B5EF4-FFF2-40B4-BE49-F238E27FC236}">
                  <a16:creationId xmlns:a16="http://schemas.microsoft.com/office/drawing/2014/main" id="{0F733DB0-D39A-4B07-A8A3-8DB00BED18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7" y="3932"/>
              <a:ext cx="50" cy="17"/>
            </a:xfrm>
            <a:custGeom>
              <a:avLst/>
              <a:gdLst>
                <a:gd name="T0" fmla="*/ 20 w 21"/>
                <a:gd name="T1" fmla="*/ 4 h 7"/>
                <a:gd name="T2" fmla="*/ 10 w 21"/>
                <a:gd name="T3" fmla="*/ 4 h 7"/>
                <a:gd name="T4" fmla="*/ 0 w 21"/>
                <a:gd name="T5" fmla="*/ 7 h 7"/>
                <a:gd name="T6" fmla="*/ 10 w 21"/>
                <a:gd name="T7" fmla="*/ 1 h 7"/>
                <a:gd name="T8" fmla="*/ 20 w 21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7">
                  <a:moveTo>
                    <a:pt x="20" y="4"/>
                  </a:moveTo>
                  <a:cubicBezTo>
                    <a:pt x="20" y="5"/>
                    <a:pt x="16" y="3"/>
                    <a:pt x="10" y="4"/>
                  </a:cubicBezTo>
                  <a:cubicBezTo>
                    <a:pt x="5" y="5"/>
                    <a:pt x="1" y="7"/>
                    <a:pt x="0" y="7"/>
                  </a:cubicBezTo>
                  <a:cubicBezTo>
                    <a:pt x="0" y="6"/>
                    <a:pt x="3" y="2"/>
                    <a:pt x="10" y="1"/>
                  </a:cubicBezTo>
                  <a:cubicBezTo>
                    <a:pt x="16" y="0"/>
                    <a:pt x="21" y="3"/>
                    <a:pt x="20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61">
              <a:extLst>
                <a:ext uri="{FF2B5EF4-FFF2-40B4-BE49-F238E27FC236}">
                  <a16:creationId xmlns:a16="http://schemas.microsoft.com/office/drawing/2014/main" id="{233B8EB8-D145-4CA8-A90E-59EBA06D71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7" y="3973"/>
              <a:ext cx="43" cy="26"/>
            </a:xfrm>
            <a:custGeom>
              <a:avLst/>
              <a:gdLst>
                <a:gd name="T0" fmla="*/ 18 w 18"/>
                <a:gd name="T1" fmla="*/ 3 h 11"/>
                <a:gd name="T2" fmla="*/ 9 w 18"/>
                <a:gd name="T3" fmla="*/ 6 h 11"/>
                <a:gd name="T4" fmla="*/ 1 w 18"/>
                <a:gd name="T5" fmla="*/ 11 h 11"/>
                <a:gd name="T6" fmla="*/ 7 w 18"/>
                <a:gd name="T7" fmla="*/ 3 h 11"/>
                <a:gd name="T8" fmla="*/ 18 w 18"/>
                <a:gd name="T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1">
                  <a:moveTo>
                    <a:pt x="18" y="3"/>
                  </a:moveTo>
                  <a:cubicBezTo>
                    <a:pt x="18" y="4"/>
                    <a:pt x="13" y="4"/>
                    <a:pt x="9" y="6"/>
                  </a:cubicBezTo>
                  <a:cubicBezTo>
                    <a:pt x="4" y="8"/>
                    <a:pt x="2" y="11"/>
                    <a:pt x="1" y="11"/>
                  </a:cubicBezTo>
                  <a:cubicBezTo>
                    <a:pt x="0" y="11"/>
                    <a:pt x="2" y="6"/>
                    <a:pt x="7" y="3"/>
                  </a:cubicBezTo>
                  <a:cubicBezTo>
                    <a:pt x="13" y="0"/>
                    <a:pt x="18" y="2"/>
                    <a:pt x="18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62">
              <a:extLst>
                <a:ext uri="{FF2B5EF4-FFF2-40B4-BE49-F238E27FC236}">
                  <a16:creationId xmlns:a16="http://schemas.microsoft.com/office/drawing/2014/main" id="{2543AD75-8E05-4BC8-A6D4-D70C2A68B0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8" y="4013"/>
              <a:ext cx="33" cy="31"/>
            </a:xfrm>
            <a:custGeom>
              <a:avLst/>
              <a:gdLst>
                <a:gd name="T0" fmla="*/ 1 w 14"/>
                <a:gd name="T1" fmla="*/ 12 h 13"/>
                <a:gd name="T2" fmla="*/ 5 w 14"/>
                <a:gd name="T3" fmla="*/ 4 h 13"/>
                <a:gd name="T4" fmla="*/ 14 w 14"/>
                <a:gd name="T5" fmla="*/ 1 h 13"/>
                <a:gd name="T6" fmla="*/ 7 w 14"/>
                <a:gd name="T7" fmla="*/ 6 h 13"/>
                <a:gd name="T8" fmla="*/ 1 w 14"/>
                <a:gd name="T9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3">
                  <a:moveTo>
                    <a:pt x="1" y="12"/>
                  </a:moveTo>
                  <a:cubicBezTo>
                    <a:pt x="0" y="12"/>
                    <a:pt x="1" y="7"/>
                    <a:pt x="5" y="4"/>
                  </a:cubicBezTo>
                  <a:cubicBezTo>
                    <a:pt x="9" y="0"/>
                    <a:pt x="14" y="0"/>
                    <a:pt x="14" y="1"/>
                  </a:cubicBezTo>
                  <a:cubicBezTo>
                    <a:pt x="14" y="2"/>
                    <a:pt x="10" y="3"/>
                    <a:pt x="7" y="6"/>
                  </a:cubicBezTo>
                  <a:cubicBezTo>
                    <a:pt x="3" y="9"/>
                    <a:pt x="1" y="13"/>
                    <a:pt x="1" y="1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63">
              <a:extLst>
                <a:ext uri="{FF2B5EF4-FFF2-40B4-BE49-F238E27FC236}">
                  <a16:creationId xmlns:a16="http://schemas.microsoft.com/office/drawing/2014/main" id="{A82B63F2-7B7A-42D9-B57C-2DC13F2F0A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1" y="3871"/>
              <a:ext cx="45" cy="24"/>
            </a:xfrm>
            <a:custGeom>
              <a:avLst/>
              <a:gdLst>
                <a:gd name="T0" fmla="*/ 19 w 19"/>
                <a:gd name="T1" fmla="*/ 9 h 10"/>
                <a:gd name="T2" fmla="*/ 10 w 19"/>
                <a:gd name="T3" fmla="*/ 5 h 10"/>
                <a:gd name="T4" fmla="*/ 0 w 19"/>
                <a:gd name="T5" fmla="*/ 2 h 10"/>
                <a:gd name="T6" fmla="*/ 11 w 19"/>
                <a:gd name="T7" fmla="*/ 2 h 10"/>
                <a:gd name="T8" fmla="*/ 19 w 19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0">
                  <a:moveTo>
                    <a:pt x="19" y="9"/>
                  </a:moveTo>
                  <a:cubicBezTo>
                    <a:pt x="18" y="10"/>
                    <a:pt x="15" y="7"/>
                    <a:pt x="10" y="5"/>
                  </a:cubicBezTo>
                  <a:cubicBezTo>
                    <a:pt x="5" y="3"/>
                    <a:pt x="0" y="3"/>
                    <a:pt x="0" y="2"/>
                  </a:cubicBezTo>
                  <a:cubicBezTo>
                    <a:pt x="0" y="1"/>
                    <a:pt x="5" y="0"/>
                    <a:pt x="11" y="2"/>
                  </a:cubicBezTo>
                  <a:cubicBezTo>
                    <a:pt x="17" y="4"/>
                    <a:pt x="19" y="9"/>
                    <a:pt x="19" y="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64">
              <a:extLst>
                <a:ext uri="{FF2B5EF4-FFF2-40B4-BE49-F238E27FC236}">
                  <a16:creationId xmlns:a16="http://schemas.microsoft.com/office/drawing/2014/main" id="{C81E53BB-85D2-40B4-AE69-B014EBAF1AE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" y="2527"/>
              <a:ext cx="1300" cy="1254"/>
            </a:xfrm>
            <a:custGeom>
              <a:avLst/>
              <a:gdLst>
                <a:gd name="T0" fmla="*/ 420 w 547"/>
                <a:gd name="T1" fmla="*/ 528 h 528"/>
                <a:gd name="T2" fmla="*/ 547 w 547"/>
                <a:gd name="T3" fmla="*/ 208 h 528"/>
                <a:gd name="T4" fmla="*/ 534 w 547"/>
                <a:gd name="T5" fmla="*/ 136 h 528"/>
                <a:gd name="T6" fmla="*/ 220 w 547"/>
                <a:gd name="T7" fmla="*/ 18 h 528"/>
                <a:gd name="T8" fmla="*/ 91 w 547"/>
                <a:gd name="T9" fmla="*/ 18 h 528"/>
                <a:gd name="T10" fmla="*/ 7 w 547"/>
                <a:gd name="T11" fmla="*/ 137 h 528"/>
                <a:gd name="T12" fmla="*/ 48 w 547"/>
                <a:gd name="T13" fmla="*/ 202 h 528"/>
                <a:gd name="T14" fmla="*/ 269 w 547"/>
                <a:gd name="T15" fmla="*/ 206 h 528"/>
                <a:gd name="T16" fmla="*/ 391 w 547"/>
                <a:gd name="T17" fmla="*/ 251 h 528"/>
                <a:gd name="T18" fmla="*/ 309 w 547"/>
                <a:gd name="T19" fmla="*/ 486 h 528"/>
                <a:gd name="T20" fmla="*/ 420 w 547"/>
                <a:gd name="T21" fmla="*/ 528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47" h="528">
                  <a:moveTo>
                    <a:pt x="420" y="528"/>
                  </a:moveTo>
                  <a:cubicBezTo>
                    <a:pt x="547" y="208"/>
                    <a:pt x="547" y="208"/>
                    <a:pt x="547" y="208"/>
                  </a:cubicBezTo>
                  <a:cubicBezTo>
                    <a:pt x="547" y="208"/>
                    <a:pt x="544" y="153"/>
                    <a:pt x="534" y="136"/>
                  </a:cubicBezTo>
                  <a:cubicBezTo>
                    <a:pt x="524" y="119"/>
                    <a:pt x="220" y="18"/>
                    <a:pt x="220" y="18"/>
                  </a:cubicBezTo>
                  <a:cubicBezTo>
                    <a:pt x="220" y="18"/>
                    <a:pt x="142" y="0"/>
                    <a:pt x="91" y="18"/>
                  </a:cubicBezTo>
                  <a:cubicBezTo>
                    <a:pt x="39" y="37"/>
                    <a:pt x="0" y="102"/>
                    <a:pt x="7" y="137"/>
                  </a:cubicBezTo>
                  <a:cubicBezTo>
                    <a:pt x="15" y="173"/>
                    <a:pt x="48" y="202"/>
                    <a:pt x="48" y="202"/>
                  </a:cubicBezTo>
                  <a:cubicBezTo>
                    <a:pt x="269" y="206"/>
                    <a:pt x="269" y="206"/>
                    <a:pt x="269" y="206"/>
                  </a:cubicBezTo>
                  <a:cubicBezTo>
                    <a:pt x="391" y="251"/>
                    <a:pt x="391" y="251"/>
                    <a:pt x="391" y="251"/>
                  </a:cubicBezTo>
                  <a:cubicBezTo>
                    <a:pt x="309" y="486"/>
                    <a:pt x="309" y="486"/>
                    <a:pt x="309" y="486"/>
                  </a:cubicBezTo>
                  <a:lnTo>
                    <a:pt x="420" y="528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65">
              <a:extLst>
                <a:ext uri="{FF2B5EF4-FFF2-40B4-BE49-F238E27FC236}">
                  <a16:creationId xmlns:a16="http://schemas.microsoft.com/office/drawing/2014/main" id="{A7835CEE-C964-47A6-B03C-50774F32B5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" y="3211"/>
              <a:ext cx="233" cy="330"/>
            </a:xfrm>
            <a:custGeom>
              <a:avLst/>
              <a:gdLst>
                <a:gd name="T0" fmla="*/ 226 w 233"/>
                <a:gd name="T1" fmla="*/ 50 h 330"/>
                <a:gd name="T2" fmla="*/ 233 w 233"/>
                <a:gd name="T3" fmla="*/ 325 h 330"/>
                <a:gd name="T4" fmla="*/ 28 w 233"/>
                <a:gd name="T5" fmla="*/ 330 h 330"/>
                <a:gd name="T6" fmla="*/ 0 w 233"/>
                <a:gd name="T7" fmla="*/ 0 h 330"/>
                <a:gd name="T8" fmla="*/ 226 w 233"/>
                <a:gd name="T9" fmla="*/ 5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" h="330">
                  <a:moveTo>
                    <a:pt x="226" y="50"/>
                  </a:moveTo>
                  <a:lnTo>
                    <a:pt x="233" y="325"/>
                  </a:lnTo>
                  <a:lnTo>
                    <a:pt x="28" y="330"/>
                  </a:lnTo>
                  <a:lnTo>
                    <a:pt x="0" y="0"/>
                  </a:lnTo>
                  <a:lnTo>
                    <a:pt x="226" y="50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66">
              <a:extLst>
                <a:ext uri="{FF2B5EF4-FFF2-40B4-BE49-F238E27FC236}">
                  <a16:creationId xmlns:a16="http://schemas.microsoft.com/office/drawing/2014/main" id="{D0227E05-BEDF-4CAC-AD98-83EA4E9EB6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1" y="3507"/>
              <a:ext cx="464" cy="281"/>
            </a:xfrm>
            <a:custGeom>
              <a:avLst/>
              <a:gdLst>
                <a:gd name="T0" fmla="*/ 97 w 195"/>
                <a:gd name="T1" fmla="*/ 1 h 118"/>
                <a:gd name="T2" fmla="*/ 96 w 195"/>
                <a:gd name="T3" fmla="*/ 62 h 118"/>
                <a:gd name="T4" fmla="*/ 195 w 195"/>
                <a:gd name="T5" fmla="*/ 116 h 118"/>
                <a:gd name="T6" fmla="*/ 6 w 195"/>
                <a:gd name="T7" fmla="*/ 118 h 118"/>
                <a:gd name="T8" fmla="*/ 0 w 195"/>
                <a:gd name="T9" fmla="*/ 0 h 118"/>
                <a:gd name="T10" fmla="*/ 97 w 195"/>
                <a:gd name="T11" fmla="*/ 1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5" h="118">
                  <a:moveTo>
                    <a:pt x="97" y="1"/>
                  </a:moveTo>
                  <a:cubicBezTo>
                    <a:pt x="96" y="62"/>
                    <a:pt x="96" y="62"/>
                    <a:pt x="96" y="62"/>
                  </a:cubicBezTo>
                  <a:cubicBezTo>
                    <a:pt x="96" y="62"/>
                    <a:pt x="194" y="98"/>
                    <a:pt x="195" y="116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7" y="1"/>
                    <a:pt x="97" y="1"/>
                    <a:pt x="97" y="1"/>
                  </a:cubicBezTo>
                </a:path>
              </a:pathLst>
            </a:custGeom>
            <a:solidFill>
              <a:srgbClr val="F3D4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67">
              <a:extLst>
                <a:ext uri="{FF2B5EF4-FFF2-40B4-BE49-F238E27FC236}">
                  <a16:creationId xmlns:a16="http://schemas.microsoft.com/office/drawing/2014/main" id="{D3302F53-273A-4AE4-AF95-96941280E94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5" y="3633"/>
              <a:ext cx="38" cy="41"/>
            </a:xfrm>
            <a:custGeom>
              <a:avLst/>
              <a:gdLst>
                <a:gd name="T0" fmla="*/ 6 w 16"/>
                <a:gd name="T1" fmla="*/ 2 h 17"/>
                <a:gd name="T2" fmla="*/ 1 w 16"/>
                <a:gd name="T3" fmla="*/ 11 h 17"/>
                <a:gd name="T4" fmla="*/ 10 w 16"/>
                <a:gd name="T5" fmla="*/ 16 h 17"/>
                <a:gd name="T6" fmla="*/ 15 w 16"/>
                <a:gd name="T7" fmla="*/ 7 h 17"/>
                <a:gd name="T8" fmla="*/ 5 w 16"/>
                <a:gd name="T9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7">
                  <a:moveTo>
                    <a:pt x="6" y="2"/>
                  </a:moveTo>
                  <a:cubicBezTo>
                    <a:pt x="2" y="3"/>
                    <a:pt x="0" y="7"/>
                    <a:pt x="1" y="11"/>
                  </a:cubicBezTo>
                  <a:cubicBezTo>
                    <a:pt x="2" y="14"/>
                    <a:pt x="6" y="17"/>
                    <a:pt x="10" y="16"/>
                  </a:cubicBezTo>
                  <a:cubicBezTo>
                    <a:pt x="13" y="15"/>
                    <a:pt x="16" y="10"/>
                    <a:pt x="15" y="7"/>
                  </a:cubicBezTo>
                  <a:cubicBezTo>
                    <a:pt x="14" y="3"/>
                    <a:pt x="9" y="0"/>
                    <a:pt x="5" y="2"/>
                  </a:cubicBezTo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68">
              <a:extLst>
                <a:ext uri="{FF2B5EF4-FFF2-40B4-BE49-F238E27FC236}">
                  <a16:creationId xmlns:a16="http://schemas.microsoft.com/office/drawing/2014/main" id="{4B5B74A2-884A-40EB-A30B-8513FB03E1A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0" y="3762"/>
              <a:ext cx="17" cy="21"/>
            </a:xfrm>
            <a:custGeom>
              <a:avLst/>
              <a:gdLst>
                <a:gd name="T0" fmla="*/ 0 w 7"/>
                <a:gd name="T1" fmla="*/ 0 h 9"/>
                <a:gd name="T2" fmla="*/ 6 w 7"/>
                <a:gd name="T3" fmla="*/ 9 h 9"/>
                <a:gd name="T4" fmla="*/ 6 w 7"/>
                <a:gd name="T5" fmla="*/ 9 h 9"/>
                <a:gd name="T6" fmla="*/ 0 w 7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9">
                  <a:moveTo>
                    <a:pt x="0" y="0"/>
                  </a:moveTo>
                  <a:cubicBezTo>
                    <a:pt x="4" y="3"/>
                    <a:pt x="6" y="6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7" y="4"/>
                    <a:pt x="2" y="1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69">
              <a:extLst>
                <a:ext uri="{FF2B5EF4-FFF2-40B4-BE49-F238E27FC236}">
                  <a16:creationId xmlns:a16="http://schemas.microsoft.com/office/drawing/2014/main" id="{C7CD19B3-E6DE-41BC-980B-7E1BD99D0A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5" y="3750"/>
              <a:ext cx="450" cy="38"/>
            </a:xfrm>
            <a:custGeom>
              <a:avLst/>
              <a:gdLst>
                <a:gd name="T0" fmla="*/ 0 w 189"/>
                <a:gd name="T1" fmla="*/ 0 h 16"/>
                <a:gd name="T2" fmla="*/ 0 w 189"/>
                <a:gd name="T3" fmla="*/ 16 h 16"/>
                <a:gd name="T4" fmla="*/ 189 w 189"/>
                <a:gd name="T5" fmla="*/ 14 h 16"/>
                <a:gd name="T6" fmla="*/ 183 w 189"/>
                <a:gd name="T7" fmla="*/ 5 h 16"/>
                <a:gd name="T8" fmla="*/ 182 w 189"/>
                <a:gd name="T9" fmla="*/ 4 h 16"/>
                <a:gd name="T10" fmla="*/ 0 w 189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9" h="16">
                  <a:moveTo>
                    <a:pt x="0" y="0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189" y="14"/>
                    <a:pt x="189" y="14"/>
                    <a:pt x="189" y="14"/>
                  </a:cubicBezTo>
                  <a:cubicBezTo>
                    <a:pt x="189" y="11"/>
                    <a:pt x="187" y="8"/>
                    <a:pt x="183" y="5"/>
                  </a:cubicBezTo>
                  <a:cubicBezTo>
                    <a:pt x="182" y="4"/>
                    <a:pt x="182" y="4"/>
                    <a:pt x="182" y="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AEE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70">
              <a:extLst>
                <a:ext uri="{FF2B5EF4-FFF2-40B4-BE49-F238E27FC236}">
                  <a16:creationId xmlns:a16="http://schemas.microsoft.com/office/drawing/2014/main" id="{D4DC4EA6-1742-44F2-89CF-B771CBF16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" y="3650"/>
              <a:ext cx="42" cy="31"/>
            </a:xfrm>
            <a:custGeom>
              <a:avLst/>
              <a:gdLst>
                <a:gd name="T0" fmla="*/ 18 w 18"/>
                <a:gd name="T1" fmla="*/ 1 h 13"/>
                <a:gd name="T2" fmla="*/ 9 w 18"/>
                <a:gd name="T3" fmla="*/ 6 h 13"/>
                <a:gd name="T4" fmla="*/ 1 w 18"/>
                <a:gd name="T5" fmla="*/ 12 h 13"/>
                <a:gd name="T6" fmla="*/ 7 w 18"/>
                <a:gd name="T7" fmla="*/ 3 h 13"/>
                <a:gd name="T8" fmla="*/ 18 w 18"/>
                <a:gd name="T9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3">
                  <a:moveTo>
                    <a:pt x="18" y="1"/>
                  </a:moveTo>
                  <a:cubicBezTo>
                    <a:pt x="18" y="2"/>
                    <a:pt x="13" y="3"/>
                    <a:pt x="9" y="6"/>
                  </a:cubicBezTo>
                  <a:cubicBezTo>
                    <a:pt x="4" y="9"/>
                    <a:pt x="2" y="13"/>
                    <a:pt x="1" y="12"/>
                  </a:cubicBezTo>
                  <a:cubicBezTo>
                    <a:pt x="0" y="12"/>
                    <a:pt x="1" y="7"/>
                    <a:pt x="7" y="3"/>
                  </a:cubicBezTo>
                  <a:cubicBezTo>
                    <a:pt x="12" y="0"/>
                    <a:pt x="18" y="1"/>
                    <a:pt x="18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71">
              <a:extLst>
                <a:ext uri="{FF2B5EF4-FFF2-40B4-BE49-F238E27FC236}">
                  <a16:creationId xmlns:a16="http://schemas.microsoft.com/office/drawing/2014/main" id="{D804B70E-98D5-4F55-ABAF-A92BB066A2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1" y="3671"/>
              <a:ext cx="33" cy="36"/>
            </a:xfrm>
            <a:custGeom>
              <a:avLst/>
              <a:gdLst>
                <a:gd name="T0" fmla="*/ 14 w 14"/>
                <a:gd name="T1" fmla="*/ 0 h 15"/>
                <a:gd name="T2" fmla="*/ 7 w 14"/>
                <a:gd name="T3" fmla="*/ 7 h 15"/>
                <a:gd name="T4" fmla="*/ 2 w 14"/>
                <a:gd name="T5" fmla="*/ 15 h 15"/>
                <a:gd name="T6" fmla="*/ 4 w 14"/>
                <a:gd name="T7" fmla="*/ 5 h 15"/>
                <a:gd name="T8" fmla="*/ 14 w 14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5">
                  <a:moveTo>
                    <a:pt x="14" y="0"/>
                  </a:moveTo>
                  <a:cubicBezTo>
                    <a:pt x="14" y="1"/>
                    <a:pt x="10" y="3"/>
                    <a:pt x="7" y="7"/>
                  </a:cubicBezTo>
                  <a:cubicBezTo>
                    <a:pt x="4" y="11"/>
                    <a:pt x="3" y="15"/>
                    <a:pt x="2" y="15"/>
                  </a:cubicBezTo>
                  <a:cubicBezTo>
                    <a:pt x="1" y="15"/>
                    <a:pt x="0" y="10"/>
                    <a:pt x="4" y="5"/>
                  </a:cubicBezTo>
                  <a:cubicBezTo>
                    <a:pt x="8" y="0"/>
                    <a:pt x="14" y="0"/>
                    <a:pt x="1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72">
              <a:extLst>
                <a:ext uri="{FF2B5EF4-FFF2-40B4-BE49-F238E27FC236}">
                  <a16:creationId xmlns:a16="http://schemas.microsoft.com/office/drawing/2014/main" id="{986572E0-4956-4EB1-88C9-A594E534F4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5" y="3688"/>
              <a:ext cx="24" cy="40"/>
            </a:xfrm>
            <a:custGeom>
              <a:avLst/>
              <a:gdLst>
                <a:gd name="T0" fmla="*/ 2 w 10"/>
                <a:gd name="T1" fmla="*/ 17 h 17"/>
                <a:gd name="T2" fmla="*/ 2 w 10"/>
                <a:gd name="T3" fmla="*/ 8 h 17"/>
                <a:gd name="T4" fmla="*/ 9 w 10"/>
                <a:gd name="T5" fmla="*/ 1 h 17"/>
                <a:gd name="T6" fmla="*/ 5 w 10"/>
                <a:gd name="T7" fmla="*/ 9 h 17"/>
                <a:gd name="T8" fmla="*/ 2 w 10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7">
                  <a:moveTo>
                    <a:pt x="2" y="17"/>
                  </a:moveTo>
                  <a:cubicBezTo>
                    <a:pt x="1" y="17"/>
                    <a:pt x="0" y="13"/>
                    <a:pt x="2" y="8"/>
                  </a:cubicBezTo>
                  <a:cubicBezTo>
                    <a:pt x="5" y="2"/>
                    <a:pt x="9" y="0"/>
                    <a:pt x="9" y="1"/>
                  </a:cubicBezTo>
                  <a:cubicBezTo>
                    <a:pt x="10" y="2"/>
                    <a:pt x="7" y="5"/>
                    <a:pt x="5" y="9"/>
                  </a:cubicBezTo>
                  <a:cubicBezTo>
                    <a:pt x="3" y="13"/>
                    <a:pt x="3" y="17"/>
                    <a:pt x="2" y="1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73">
              <a:extLst>
                <a:ext uri="{FF2B5EF4-FFF2-40B4-BE49-F238E27FC236}">
                  <a16:creationId xmlns:a16="http://schemas.microsoft.com/office/drawing/2014/main" id="{D52B91C2-EF67-404B-83FB-EB8935A3AC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4" y="3593"/>
              <a:ext cx="48" cy="12"/>
            </a:xfrm>
            <a:custGeom>
              <a:avLst/>
              <a:gdLst>
                <a:gd name="T0" fmla="*/ 20 w 20"/>
                <a:gd name="T1" fmla="*/ 3 h 5"/>
                <a:gd name="T2" fmla="*/ 10 w 20"/>
                <a:gd name="T3" fmla="*/ 3 h 5"/>
                <a:gd name="T4" fmla="*/ 0 w 20"/>
                <a:gd name="T5" fmla="*/ 4 h 5"/>
                <a:gd name="T6" fmla="*/ 10 w 20"/>
                <a:gd name="T7" fmla="*/ 0 h 5"/>
                <a:gd name="T8" fmla="*/ 20 w 20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5">
                  <a:moveTo>
                    <a:pt x="20" y="3"/>
                  </a:moveTo>
                  <a:cubicBezTo>
                    <a:pt x="19" y="4"/>
                    <a:pt x="15" y="3"/>
                    <a:pt x="10" y="3"/>
                  </a:cubicBezTo>
                  <a:cubicBezTo>
                    <a:pt x="5" y="3"/>
                    <a:pt x="1" y="5"/>
                    <a:pt x="0" y="4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2"/>
                    <a:pt x="20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74">
              <a:extLst>
                <a:ext uri="{FF2B5EF4-FFF2-40B4-BE49-F238E27FC236}">
                  <a16:creationId xmlns:a16="http://schemas.microsoft.com/office/drawing/2014/main" id="{936A9733-89C3-45C0-82B7-97FD94F5C9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" y="2482"/>
              <a:ext cx="789" cy="916"/>
            </a:xfrm>
            <a:custGeom>
              <a:avLst/>
              <a:gdLst>
                <a:gd name="T0" fmla="*/ 263 w 332"/>
                <a:gd name="T1" fmla="*/ 7 h 386"/>
                <a:gd name="T2" fmla="*/ 320 w 332"/>
                <a:gd name="T3" fmla="*/ 59 h 386"/>
                <a:gd name="T4" fmla="*/ 332 w 332"/>
                <a:gd name="T5" fmla="*/ 376 h 386"/>
                <a:gd name="T6" fmla="*/ 211 w 332"/>
                <a:gd name="T7" fmla="*/ 386 h 386"/>
                <a:gd name="T8" fmla="*/ 192 w 332"/>
                <a:gd name="T9" fmla="*/ 119 h 386"/>
                <a:gd name="T10" fmla="*/ 0 w 332"/>
                <a:gd name="T11" fmla="*/ 37 h 386"/>
                <a:gd name="T12" fmla="*/ 263 w 332"/>
                <a:gd name="T13" fmla="*/ 7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2" h="386">
                  <a:moveTo>
                    <a:pt x="263" y="7"/>
                  </a:moveTo>
                  <a:cubicBezTo>
                    <a:pt x="263" y="7"/>
                    <a:pt x="315" y="3"/>
                    <a:pt x="320" y="59"/>
                  </a:cubicBezTo>
                  <a:cubicBezTo>
                    <a:pt x="326" y="115"/>
                    <a:pt x="332" y="376"/>
                    <a:pt x="332" y="376"/>
                  </a:cubicBezTo>
                  <a:cubicBezTo>
                    <a:pt x="211" y="386"/>
                    <a:pt x="211" y="386"/>
                    <a:pt x="211" y="386"/>
                  </a:cubicBezTo>
                  <a:cubicBezTo>
                    <a:pt x="192" y="119"/>
                    <a:pt x="192" y="119"/>
                    <a:pt x="192" y="119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228" y="0"/>
                    <a:pt x="263" y="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75">
              <a:extLst>
                <a:ext uri="{FF2B5EF4-FFF2-40B4-BE49-F238E27FC236}">
                  <a16:creationId xmlns:a16="http://schemas.microsoft.com/office/drawing/2014/main" id="{C31F7882-6326-49B6-A197-19542856D499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" y="2318"/>
              <a:ext cx="746" cy="534"/>
            </a:xfrm>
            <a:custGeom>
              <a:avLst/>
              <a:gdLst>
                <a:gd name="T0" fmla="*/ 283 w 314"/>
                <a:gd name="T1" fmla="*/ 0 h 225"/>
                <a:gd name="T2" fmla="*/ 308 w 314"/>
                <a:gd name="T3" fmla="*/ 98 h 225"/>
                <a:gd name="T4" fmla="*/ 222 w 314"/>
                <a:gd name="T5" fmla="*/ 148 h 225"/>
                <a:gd name="T6" fmla="*/ 20 w 314"/>
                <a:gd name="T7" fmla="*/ 225 h 225"/>
                <a:gd name="T8" fmla="*/ 0 w 314"/>
                <a:gd name="T9" fmla="*/ 142 h 225"/>
                <a:gd name="T10" fmla="*/ 70 w 314"/>
                <a:gd name="T11" fmla="*/ 0 h 225"/>
                <a:gd name="T12" fmla="*/ 283 w 314"/>
                <a:gd name="T13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4" h="225">
                  <a:moveTo>
                    <a:pt x="283" y="0"/>
                  </a:moveTo>
                  <a:cubicBezTo>
                    <a:pt x="283" y="0"/>
                    <a:pt x="314" y="88"/>
                    <a:pt x="308" y="98"/>
                  </a:cubicBezTo>
                  <a:cubicBezTo>
                    <a:pt x="303" y="108"/>
                    <a:pt x="222" y="148"/>
                    <a:pt x="222" y="148"/>
                  </a:cubicBezTo>
                  <a:cubicBezTo>
                    <a:pt x="20" y="225"/>
                    <a:pt x="20" y="225"/>
                    <a:pt x="20" y="225"/>
                  </a:cubicBezTo>
                  <a:cubicBezTo>
                    <a:pt x="20" y="225"/>
                    <a:pt x="0" y="192"/>
                    <a:pt x="0" y="142"/>
                  </a:cubicBezTo>
                  <a:cubicBezTo>
                    <a:pt x="0" y="91"/>
                    <a:pt x="70" y="0"/>
                    <a:pt x="70" y="0"/>
                  </a:cubicBezTo>
                  <a:lnTo>
                    <a:pt x="283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76">
              <a:extLst>
                <a:ext uri="{FF2B5EF4-FFF2-40B4-BE49-F238E27FC236}">
                  <a16:creationId xmlns:a16="http://schemas.microsoft.com/office/drawing/2014/main" id="{44305012-4A46-4116-A824-DF43210AA8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5" y="2560"/>
              <a:ext cx="813" cy="841"/>
            </a:xfrm>
            <a:custGeom>
              <a:avLst/>
              <a:gdLst>
                <a:gd name="T0" fmla="*/ 0 w 342"/>
                <a:gd name="T1" fmla="*/ 0 h 354"/>
                <a:gd name="T2" fmla="*/ 1 w 342"/>
                <a:gd name="T3" fmla="*/ 0 h 354"/>
                <a:gd name="T4" fmla="*/ 4 w 342"/>
                <a:gd name="T5" fmla="*/ 2 h 354"/>
                <a:gd name="T6" fmla="*/ 15 w 342"/>
                <a:gd name="T7" fmla="*/ 7 h 354"/>
                <a:gd name="T8" fmla="*/ 57 w 342"/>
                <a:gd name="T9" fmla="*/ 25 h 354"/>
                <a:gd name="T10" fmla="*/ 202 w 342"/>
                <a:gd name="T11" fmla="*/ 87 h 354"/>
                <a:gd name="T12" fmla="*/ 201 w 342"/>
                <a:gd name="T13" fmla="*/ 86 h 354"/>
                <a:gd name="T14" fmla="*/ 207 w 342"/>
                <a:gd name="T15" fmla="*/ 171 h 354"/>
                <a:gd name="T16" fmla="*/ 220 w 342"/>
                <a:gd name="T17" fmla="*/ 353 h 354"/>
                <a:gd name="T18" fmla="*/ 220 w 342"/>
                <a:gd name="T19" fmla="*/ 354 h 354"/>
                <a:gd name="T20" fmla="*/ 221 w 342"/>
                <a:gd name="T21" fmla="*/ 354 h 354"/>
                <a:gd name="T22" fmla="*/ 309 w 342"/>
                <a:gd name="T23" fmla="*/ 346 h 354"/>
                <a:gd name="T24" fmla="*/ 333 w 342"/>
                <a:gd name="T25" fmla="*/ 344 h 354"/>
                <a:gd name="T26" fmla="*/ 339 w 342"/>
                <a:gd name="T27" fmla="*/ 343 h 354"/>
                <a:gd name="T28" fmla="*/ 342 w 342"/>
                <a:gd name="T29" fmla="*/ 343 h 354"/>
                <a:gd name="T30" fmla="*/ 339 w 342"/>
                <a:gd name="T31" fmla="*/ 343 h 354"/>
                <a:gd name="T32" fmla="*/ 333 w 342"/>
                <a:gd name="T33" fmla="*/ 344 h 354"/>
                <a:gd name="T34" fmla="*/ 309 w 342"/>
                <a:gd name="T35" fmla="*/ 345 h 354"/>
                <a:gd name="T36" fmla="*/ 221 w 342"/>
                <a:gd name="T37" fmla="*/ 352 h 354"/>
                <a:gd name="T38" fmla="*/ 222 w 342"/>
                <a:gd name="T39" fmla="*/ 353 h 354"/>
                <a:gd name="T40" fmla="*/ 209 w 342"/>
                <a:gd name="T41" fmla="*/ 170 h 354"/>
                <a:gd name="T42" fmla="*/ 203 w 342"/>
                <a:gd name="T43" fmla="*/ 86 h 354"/>
                <a:gd name="T44" fmla="*/ 203 w 342"/>
                <a:gd name="T45" fmla="*/ 85 h 354"/>
                <a:gd name="T46" fmla="*/ 203 w 342"/>
                <a:gd name="T47" fmla="*/ 85 h 354"/>
                <a:gd name="T48" fmla="*/ 58 w 342"/>
                <a:gd name="T49" fmla="*/ 24 h 354"/>
                <a:gd name="T50" fmla="*/ 16 w 342"/>
                <a:gd name="T51" fmla="*/ 6 h 354"/>
                <a:gd name="T52" fmla="*/ 4 w 342"/>
                <a:gd name="T53" fmla="*/ 1 h 354"/>
                <a:gd name="T54" fmla="*/ 1 w 342"/>
                <a:gd name="T55" fmla="*/ 0 h 354"/>
                <a:gd name="T56" fmla="*/ 0 w 342"/>
                <a:gd name="T57" fmla="*/ 0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42" h="354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2" y="1"/>
                    <a:pt x="3" y="1"/>
                    <a:pt x="4" y="2"/>
                  </a:cubicBezTo>
                  <a:cubicBezTo>
                    <a:pt x="7" y="3"/>
                    <a:pt x="11" y="4"/>
                    <a:pt x="15" y="7"/>
                  </a:cubicBezTo>
                  <a:cubicBezTo>
                    <a:pt x="25" y="11"/>
                    <a:pt x="39" y="17"/>
                    <a:pt x="57" y="25"/>
                  </a:cubicBezTo>
                  <a:cubicBezTo>
                    <a:pt x="93" y="40"/>
                    <a:pt x="144" y="62"/>
                    <a:pt x="202" y="87"/>
                  </a:cubicBezTo>
                  <a:cubicBezTo>
                    <a:pt x="201" y="86"/>
                    <a:pt x="201" y="86"/>
                    <a:pt x="201" y="86"/>
                  </a:cubicBezTo>
                  <a:cubicBezTo>
                    <a:pt x="203" y="113"/>
                    <a:pt x="205" y="141"/>
                    <a:pt x="207" y="171"/>
                  </a:cubicBezTo>
                  <a:cubicBezTo>
                    <a:pt x="212" y="239"/>
                    <a:pt x="217" y="303"/>
                    <a:pt x="220" y="353"/>
                  </a:cubicBezTo>
                  <a:cubicBezTo>
                    <a:pt x="220" y="354"/>
                    <a:pt x="220" y="354"/>
                    <a:pt x="220" y="354"/>
                  </a:cubicBezTo>
                  <a:cubicBezTo>
                    <a:pt x="221" y="354"/>
                    <a:pt x="221" y="354"/>
                    <a:pt x="221" y="354"/>
                  </a:cubicBezTo>
                  <a:cubicBezTo>
                    <a:pt x="258" y="351"/>
                    <a:pt x="288" y="348"/>
                    <a:pt x="309" y="346"/>
                  </a:cubicBezTo>
                  <a:cubicBezTo>
                    <a:pt x="319" y="345"/>
                    <a:pt x="327" y="345"/>
                    <a:pt x="333" y="344"/>
                  </a:cubicBezTo>
                  <a:cubicBezTo>
                    <a:pt x="336" y="344"/>
                    <a:pt x="338" y="344"/>
                    <a:pt x="339" y="343"/>
                  </a:cubicBezTo>
                  <a:cubicBezTo>
                    <a:pt x="341" y="343"/>
                    <a:pt x="342" y="343"/>
                    <a:pt x="342" y="343"/>
                  </a:cubicBezTo>
                  <a:cubicBezTo>
                    <a:pt x="342" y="343"/>
                    <a:pt x="341" y="343"/>
                    <a:pt x="339" y="343"/>
                  </a:cubicBezTo>
                  <a:cubicBezTo>
                    <a:pt x="338" y="343"/>
                    <a:pt x="336" y="343"/>
                    <a:pt x="333" y="344"/>
                  </a:cubicBezTo>
                  <a:cubicBezTo>
                    <a:pt x="327" y="344"/>
                    <a:pt x="319" y="345"/>
                    <a:pt x="309" y="345"/>
                  </a:cubicBezTo>
                  <a:cubicBezTo>
                    <a:pt x="288" y="347"/>
                    <a:pt x="258" y="349"/>
                    <a:pt x="221" y="352"/>
                  </a:cubicBezTo>
                  <a:cubicBezTo>
                    <a:pt x="222" y="353"/>
                    <a:pt x="222" y="353"/>
                    <a:pt x="222" y="353"/>
                  </a:cubicBezTo>
                  <a:cubicBezTo>
                    <a:pt x="218" y="303"/>
                    <a:pt x="214" y="239"/>
                    <a:pt x="209" y="170"/>
                  </a:cubicBezTo>
                  <a:cubicBezTo>
                    <a:pt x="207" y="141"/>
                    <a:pt x="205" y="112"/>
                    <a:pt x="203" y="86"/>
                  </a:cubicBezTo>
                  <a:cubicBezTo>
                    <a:pt x="203" y="85"/>
                    <a:pt x="203" y="85"/>
                    <a:pt x="203" y="85"/>
                  </a:cubicBezTo>
                  <a:cubicBezTo>
                    <a:pt x="203" y="85"/>
                    <a:pt x="203" y="85"/>
                    <a:pt x="203" y="85"/>
                  </a:cubicBezTo>
                  <a:cubicBezTo>
                    <a:pt x="144" y="60"/>
                    <a:pt x="94" y="39"/>
                    <a:pt x="58" y="24"/>
                  </a:cubicBezTo>
                  <a:cubicBezTo>
                    <a:pt x="40" y="16"/>
                    <a:pt x="26" y="10"/>
                    <a:pt x="16" y="6"/>
                  </a:cubicBezTo>
                  <a:cubicBezTo>
                    <a:pt x="11" y="4"/>
                    <a:pt x="7" y="2"/>
                    <a:pt x="4" y="1"/>
                  </a:cubicBezTo>
                  <a:cubicBezTo>
                    <a:pt x="3" y="1"/>
                    <a:pt x="2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77">
              <a:extLst>
                <a:ext uri="{FF2B5EF4-FFF2-40B4-BE49-F238E27FC236}">
                  <a16:creationId xmlns:a16="http://schemas.microsoft.com/office/drawing/2014/main" id="{AA2DF113-ED82-4CBD-894B-965C7598B7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5" y="2522"/>
              <a:ext cx="344" cy="59"/>
            </a:xfrm>
            <a:custGeom>
              <a:avLst/>
              <a:gdLst>
                <a:gd name="T0" fmla="*/ 0 w 145"/>
                <a:gd name="T1" fmla="*/ 25 h 25"/>
                <a:gd name="T2" fmla="*/ 6 w 145"/>
                <a:gd name="T3" fmla="*/ 23 h 25"/>
                <a:gd name="T4" fmla="*/ 21 w 145"/>
                <a:gd name="T5" fmla="*/ 18 h 25"/>
                <a:gd name="T6" fmla="*/ 72 w 145"/>
                <a:gd name="T7" fmla="*/ 5 h 25"/>
                <a:gd name="T8" fmla="*/ 124 w 145"/>
                <a:gd name="T9" fmla="*/ 6 h 25"/>
                <a:gd name="T10" fmla="*/ 145 w 145"/>
                <a:gd name="T11" fmla="*/ 12 h 25"/>
                <a:gd name="T12" fmla="*/ 139 w 145"/>
                <a:gd name="T13" fmla="*/ 9 h 25"/>
                <a:gd name="T14" fmla="*/ 124 w 145"/>
                <a:gd name="T15" fmla="*/ 4 h 25"/>
                <a:gd name="T16" fmla="*/ 71 w 145"/>
                <a:gd name="T17" fmla="*/ 3 h 25"/>
                <a:gd name="T18" fmla="*/ 20 w 145"/>
                <a:gd name="T19" fmla="*/ 17 h 25"/>
                <a:gd name="T20" fmla="*/ 5 w 145"/>
                <a:gd name="T21" fmla="*/ 22 h 25"/>
                <a:gd name="T22" fmla="*/ 0 w 145"/>
                <a:gd name="T2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5" h="25">
                  <a:moveTo>
                    <a:pt x="0" y="25"/>
                  </a:moveTo>
                  <a:cubicBezTo>
                    <a:pt x="0" y="25"/>
                    <a:pt x="2" y="24"/>
                    <a:pt x="6" y="23"/>
                  </a:cubicBezTo>
                  <a:cubicBezTo>
                    <a:pt x="10" y="22"/>
                    <a:pt x="15" y="20"/>
                    <a:pt x="21" y="18"/>
                  </a:cubicBezTo>
                  <a:cubicBezTo>
                    <a:pt x="34" y="14"/>
                    <a:pt x="51" y="8"/>
                    <a:pt x="72" y="5"/>
                  </a:cubicBezTo>
                  <a:cubicBezTo>
                    <a:pt x="92" y="2"/>
                    <a:pt x="111" y="3"/>
                    <a:pt x="124" y="6"/>
                  </a:cubicBezTo>
                  <a:cubicBezTo>
                    <a:pt x="137" y="9"/>
                    <a:pt x="144" y="12"/>
                    <a:pt x="145" y="12"/>
                  </a:cubicBezTo>
                  <a:cubicBezTo>
                    <a:pt x="145" y="12"/>
                    <a:pt x="143" y="11"/>
                    <a:pt x="139" y="9"/>
                  </a:cubicBezTo>
                  <a:cubicBezTo>
                    <a:pt x="136" y="8"/>
                    <a:pt x="131" y="6"/>
                    <a:pt x="124" y="4"/>
                  </a:cubicBezTo>
                  <a:cubicBezTo>
                    <a:pt x="111" y="1"/>
                    <a:pt x="92" y="0"/>
                    <a:pt x="71" y="3"/>
                  </a:cubicBezTo>
                  <a:cubicBezTo>
                    <a:pt x="51" y="6"/>
                    <a:pt x="33" y="12"/>
                    <a:pt x="20" y="17"/>
                  </a:cubicBezTo>
                  <a:cubicBezTo>
                    <a:pt x="14" y="19"/>
                    <a:pt x="9" y="21"/>
                    <a:pt x="5" y="22"/>
                  </a:cubicBezTo>
                  <a:cubicBezTo>
                    <a:pt x="2" y="24"/>
                    <a:pt x="0" y="24"/>
                    <a:pt x="0" y="25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78">
              <a:extLst>
                <a:ext uri="{FF2B5EF4-FFF2-40B4-BE49-F238E27FC236}">
                  <a16:creationId xmlns:a16="http://schemas.microsoft.com/office/drawing/2014/main" id="{5B13B6F1-4065-4BFF-846B-B3ADBF5A1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" y="2465"/>
              <a:ext cx="271" cy="81"/>
            </a:xfrm>
            <a:custGeom>
              <a:avLst/>
              <a:gdLst>
                <a:gd name="T0" fmla="*/ 1 w 114"/>
                <a:gd name="T1" fmla="*/ 2 h 34"/>
                <a:gd name="T2" fmla="*/ 18 w 114"/>
                <a:gd name="T3" fmla="*/ 2 h 34"/>
                <a:gd name="T4" fmla="*/ 37 w 114"/>
                <a:gd name="T5" fmla="*/ 4 h 34"/>
                <a:gd name="T6" fmla="*/ 60 w 114"/>
                <a:gd name="T7" fmla="*/ 8 h 34"/>
                <a:gd name="T8" fmla="*/ 100 w 114"/>
                <a:gd name="T9" fmla="*/ 22 h 34"/>
                <a:gd name="T10" fmla="*/ 114 w 114"/>
                <a:gd name="T11" fmla="*/ 33 h 34"/>
                <a:gd name="T12" fmla="*/ 111 w 114"/>
                <a:gd name="T13" fmla="*/ 29 h 34"/>
                <a:gd name="T14" fmla="*/ 101 w 114"/>
                <a:gd name="T15" fmla="*/ 21 h 34"/>
                <a:gd name="T16" fmla="*/ 61 w 114"/>
                <a:gd name="T17" fmla="*/ 5 h 34"/>
                <a:gd name="T18" fmla="*/ 37 w 114"/>
                <a:gd name="T19" fmla="*/ 2 h 34"/>
                <a:gd name="T20" fmla="*/ 18 w 114"/>
                <a:gd name="T21" fmla="*/ 1 h 34"/>
                <a:gd name="T22" fmla="*/ 5 w 114"/>
                <a:gd name="T23" fmla="*/ 1 h 34"/>
                <a:gd name="T24" fmla="*/ 1 w 114"/>
                <a:gd name="T25" fmla="*/ 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4" h="34">
                  <a:moveTo>
                    <a:pt x="1" y="2"/>
                  </a:moveTo>
                  <a:cubicBezTo>
                    <a:pt x="1" y="3"/>
                    <a:pt x="7" y="1"/>
                    <a:pt x="18" y="2"/>
                  </a:cubicBezTo>
                  <a:cubicBezTo>
                    <a:pt x="24" y="3"/>
                    <a:pt x="30" y="3"/>
                    <a:pt x="37" y="4"/>
                  </a:cubicBezTo>
                  <a:cubicBezTo>
                    <a:pt x="44" y="5"/>
                    <a:pt x="52" y="6"/>
                    <a:pt x="60" y="8"/>
                  </a:cubicBezTo>
                  <a:cubicBezTo>
                    <a:pt x="77" y="10"/>
                    <a:pt x="91" y="16"/>
                    <a:pt x="100" y="22"/>
                  </a:cubicBezTo>
                  <a:cubicBezTo>
                    <a:pt x="109" y="28"/>
                    <a:pt x="113" y="34"/>
                    <a:pt x="114" y="33"/>
                  </a:cubicBezTo>
                  <a:cubicBezTo>
                    <a:pt x="114" y="33"/>
                    <a:pt x="113" y="32"/>
                    <a:pt x="111" y="29"/>
                  </a:cubicBezTo>
                  <a:cubicBezTo>
                    <a:pt x="109" y="27"/>
                    <a:pt x="105" y="24"/>
                    <a:pt x="101" y="21"/>
                  </a:cubicBezTo>
                  <a:cubicBezTo>
                    <a:pt x="92" y="14"/>
                    <a:pt x="77" y="8"/>
                    <a:pt x="61" y="5"/>
                  </a:cubicBezTo>
                  <a:cubicBezTo>
                    <a:pt x="53" y="4"/>
                    <a:pt x="45" y="3"/>
                    <a:pt x="37" y="2"/>
                  </a:cubicBezTo>
                  <a:cubicBezTo>
                    <a:pt x="30" y="1"/>
                    <a:pt x="24" y="1"/>
                    <a:pt x="18" y="1"/>
                  </a:cubicBezTo>
                  <a:cubicBezTo>
                    <a:pt x="13" y="0"/>
                    <a:pt x="8" y="1"/>
                    <a:pt x="5" y="1"/>
                  </a:cubicBezTo>
                  <a:cubicBezTo>
                    <a:pt x="2" y="2"/>
                    <a:pt x="0" y="2"/>
                    <a:pt x="1" y="2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79">
              <a:extLst>
                <a:ext uri="{FF2B5EF4-FFF2-40B4-BE49-F238E27FC236}">
                  <a16:creationId xmlns:a16="http://schemas.microsoft.com/office/drawing/2014/main" id="{C4A984CC-97EF-4353-81CC-0E8CDE648D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5" y="784"/>
              <a:ext cx="458" cy="527"/>
            </a:xfrm>
            <a:custGeom>
              <a:avLst/>
              <a:gdLst>
                <a:gd name="T0" fmla="*/ 118 w 193"/>
                <a:gd name="T1" fmla="*/ 4 h 222"/>
                <a:gd name="T2" fmla="*/ 54 w 193"/>
                <a:gd name="T3" fmla="*/ 22 h 222"/>
                <a:gd name="T4" fmla="*/ 12 w 193"/>
                <a:gd name="T5" fmla="*/ 77 h 222"/>
                <a:gd name="T6" fmla="*/ 7 w 193"/>
                <a:gd name="T7" fmla="*/ 150 h 222"/>
                <a:gd name="T8" fmla="*/ 53 w 193"/>
                <a:gd name="T9" fmla="*/ 206 h 222"/>
                <a:gd name="T10" fmla="*/ 148 w 193"/>
                <a:gd name="T11" fmla="*/ 196 h 222"/>
                <a:gd name="T12" fmla="*/ 192 w 193"/>
                <a:gd name="T13" fmla="*/ 108 h 222"/>
                <a:gd name="T14" fmla="*/ 174 w 193"/>
                <a:gd name="T15" fmla="*/ 42 h 222"/>
                <a:gd name="T16" fmla="*/ 118 w 193"/>
                <a:gd name="T17" fmla="*/ 4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3" h="222">
                  <a:moveTo>
                    <a:pt x="118" y="4"/>
                  </a:moveTo>
                  <a:cubicBezTo>
                    <a:pt x="94" y="0"/>
                    <a:pt x="74" y="9"/>
                    <a:pt x="54" y="22"/>
                  </a:cubicBezTo>
                  <a:cubicBezTo>
                    <a:pt x="35" y="35"/>
                    <a:pt x="20" y="55"/>
                    <a:pt x="12" y="77"/>
                  </a:cubicBezTo>
                  <a:cubicBezTo>
                    <a:pt x="3" y="100"/>
                    <a:pt x="0" y="126"/>
                    <a:pt x="7" y="150"/>
                  </a:cubicBezTo>
                  <a:cubicBezTo>
                    <a:pt x="14" y="174"/>
                    <a:pt x="31" y="195"/>
                    <a:pt x="53" y="206"/>
                  </a:cubicBezTo>
                  <a:cubicBezTo>
                    <a:pt x="83" y="222"/>
                    <a:pt x="121" y="216"/>
                    <a:pt x="148" y="196"/>
                  </a:cubicBezTo>
                  <a:cubicBezTo>
                    <a:pt x="175" y="176"/>
                    <a:pt x="191" y="142"/>
                    <a:pt x="192" y="108"/>
                  </a:cubicBezTo>
                  <a:cubicBezTo>
                    <a:pt x="193" y="85"/>
                    <a:pt x="187" y="61"/>
                    <a:pt x="174" y="42"/>
                  </a:cubicBezTo>
                  <a:cubicBezTo>
                    <a:pt x="161" y="22"/>
                    <a:pt x="141" y="8"/>
                    <a:pt x="118" y="4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80">
              <a:extLst>
                <a:ext uri="{FF2B5EF4-FFF2-40B4-BE49-F238E27FC236}">
                  <a16:creationId xmlns:a16="http://schemas.microsoft.com/office/drawing/2014/main" id="{A6FDF626-EE15-4044-8EC9-46610BA1E0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" y="789"/>
              <a:ext cx="390" cy="237"/>
            </a:xfrm>
            <a:custGeom>
              <a:avLst/>
              <a:gdLst>
                <a:gd name="T0" fmla="*/ 4 w 164"/>
                <a:gd name="T1" fmla="*/ 81 h 100"/>
                <a:gd name="T2" fmla="*/ 7 w 164"/>
                <a:gd name="T3" fmla="*/ 53 h 100"/>
                <a:gd name="T4" fmla="*/ 46 w 164"/>
                <a:gd name="T5" fmla="*/ 8 h 100"/>
                <a:gd name="T6" fmla="*/ 107 w 164"/>
                <a:gd name="T7" fmla="*/ 9 h 100"/>
                <a:gd name="T8" fmla="*/ 146 w 164"/>
                <a:gd name="T9" fmla="*/ 34 h 100"/>
                <a:gd name="T10" fmla="*/ 158 w 164"/>
                <a:gd name="T11" fmla="*/ 92 h 100"/>
                <a:gd name="T12" fmla="*/ 52 w 164"/>
                <a:gd name="T13" fmla="*/ 77 h 100"/>
                <a:gd name="T14" fmla="*/ 20 w 164"/>
                <a:gd name="T15" fmla="*/ 98 h 100"/>
                <a:gd name="T16" fmla="*/ 9 w 164"/>
                <a:gd name="T17" fmla="*/ 100 h 100"/>
                <a:gd name="T18" fmla="*/ 1 w 164"/>
                <a:gd name="T19" fmla="*/ 93 h 100"/>
                <a:gd name="T20" fmla="*/ 4 w 164"/>
                <a:gd name="T21" fmla="*/ 8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4" h="100">
                  <a:moveTo>
                    <a:pt x="4" y="81"/>
                  </a:moveTo>
                  <a:cubicBezTo>
                    <a:pt x="7" y="72"/>
                    <a:pt x="6" y="62"/>
                    <a:pt x="7" y="53"/>
                  </a:cubicBezTo>
                  <a:cubicBezTo>
                    <a:pt x="10" y="32"/>
                    <a:pt x="27" y="16"/>
                    <a:pt x="46" y="8"/>
                  </a:cubicBezTo>
                  <a:cubicBezTo>
                    <a:pt x="64" y="0"/>
                    <a:pt x="86" y="2"/>
                    <a:pt x="107" y="9"/>
                  </a:cubicBezTo>
                  <a:cubicBezTo>
                    <a:pt x="122" y="14"/>
                    <a:pt x="136" y="22"/>
                    <a:pt x="146" y="34"/>
                  </a:cubicBezTo>
                  <a:cubicBezTo>
                    <a:pt x="159" y="50"/>
                    <a:pt x="164" y="73"/>
                    <a:pt x="158" y="92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42" y="85"/>
                    <a:pt x="32" y="93"/>
                    <a:pt x="20" y="98"/>
                  </a:cubicBezTo>
                  <a:cubicBezTo>
                    <a:pt x="16" y="99"/>
                    <a:pt x="13" y="100"/>
                    <a:pt x="9" y="100"/>
                  </a:cubicBezTo>
                  <a:cubicBezTo>
                    <a:pt x="5" y="99"/>
                    <a:pt x="2" y="97"/>
                    <a:pt x="1" y="93"/>
                  </a:cubicBezTo>
                  <a:cubicBezTo>
                    <a:pt x="0" y="89"/>
                    <a:pt x="2" y="85"/>
                    <a:pt x="4" y="8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81">
              <a:extLst>
                <a:ext uri="{FF2B5EF4-FFF2-40B4-BE49-F238E27FC236}">
                  <a16:creationId xmlns:a16="http://schemas.microsoft.com/office/drawing/2014/main" id="{DD550485-B507-4EBC-B915-B5B75D5B7B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" y="874"/>
              <a:ext cx="376" cy="746"/>
            </a:xfrm>
            <a:custGeom>
              <a:avLst/>
              <a:gdLst>
                <a:gd name="T0" fmla="*/ 109 w 158"/>
                <a:gd name="T1" fmla="*/ 2 h 314"/>
                <a:gd name="T2" fmla="*/ 16 w 158"/>
                <a:gd name="T3" fmla="*/ 22 h 314"/>
                <a:gd name="T4" fmla="*/ 0 w 158"/>
                <a:gd name="T5" fmla="*/ 39 h 314"/>
                <a:gd name="T6" fmla="*/ 1 w 158"/>
                <a:gd name="T7" fmla="*/ 239 h 314"/>
                <a:gd name="T8" fmla="*/ 14 w 158"/>
                <a:gd name="T9" fmla="*/ 276 h 314"/>
                <a:gd name="T10" fmla="*/ 23 w 158"/>
                <a:gd name="T11" fmla="*/ 288 h 314"/>
                <a:gd name="T12" fmla="*/ 99 w 158"/>
                <a:gd name="T13" fmla="*/ 282 h 314"/>
                <a:gd name="T14" fmla="*/ 101 w 158"/>
                <a:gd name="T15" fmla="*/ 277 h 314"/>
                <a:gd name="T16" fmla="*/ 102 w 158"/>
                <a:gd name="T17" fmla="*/ 272 h 314"/>
                <a:gd name="T18" fmla="*/ 104 w 158"/>
                <a:gd name="T19" fmla="*/ 253 h 314"/>
                <a:gd name="T20" fmla="*/ 105 w 158"/>
                <a:gd name="T21" fmla="*/ 217 h 314"/>
                <a:gd name="T22" fmla="*/ 153 w 158"/>
                <a:gd name="T23" fmla="*/ 164 h 314"/>
                <a:gd name="T24" fmla="*/ 157 w 158"/>
                <a:gd name="T25" fmla="*/ 66 h 314"/>
                <a:gd name="T26" fmla="*/ 109 w 158"/>
                <a:gd name="T27" fmla="*/ 2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8" h="314">
                  <a:moveTo>
                    <a:pt x="109" y="2"/>
                  </a:moveTo>
                  <a:cubicBezTo>
                    <a:pt x="16" y="22"/>
                    <a:pt x="16" y="22"/>
                    <a:pt x="16" y="22"/>
                  </a:cubicBezTo>
                  <a:cubicBezTo>
                    <a:pt x="7" y="22"/>
                    <a:pt x="0" y="30"/>
                    <a:pt x="0" y="39"/>
                  </a:cubicBezTo>
                  <a:cubicBezTo>
                    <a:pt x="1" y="239"/>
                    <a:pt x="1" y="239"/>
                    <a:pt x="1" y="239"/>
                  </a:cubicBezTo>
                  <a:cubicBezTo>
                    <a:pt x="1" y="252"/>
                    <a:pt x="6" y="266"/>
                    <a:pt x="14" y="276"/>
                  </a:cubicBezTo>
                  <a:cubicBezTo>
                    <a:pt x="23" y="288"/>
                    <a:pt x="23" y="288"/>
                    <a:pt x="23" y="288"/>
                  </a:cubicBezTo>
                  <a:cubicBezTo>
                    <a:pt x="43" y="314"/>
                    <a:pt x="84" y="311"/>
                    <a:pt x="99" y="282"/>
                  </a:cubicBezTo>
                  <a:cubicBezTo>
                    <a:pt x="100" y="280"/>
                    <a:pt x="101" y="278"/>
                    <a:pt x="101" y="277"/>
                  </a:cubicBezTo>
                  <a:cubicBezTo>
                    <a:pt x="102" y="275"/>
                    <a:pt x="102" y="274"/>
                    <a:pt x="102" y="272"/>
                  </a:cubicBezTo>
                  <a:cubicBezTo>
                    <a:pt x="104" y="253"/>
                    <a:pt x="104" y="253"/>
                    <a:pt x="104" y="253"/>
                  </a:cubicBezTo>
                  <a:cubicBezTo>
                    <a:pt x="105" y="235"/>
                    <a:pt x="105" y="217"/>
                    <a:pt x="105" y="217"/>
                  </a:cubicBezTo>
                  <a:cubicBezTo>
                    <a:pt x="105" y="217"/>
                    <a:pt x="143" y="212"/>
                    <a:pt x="153" y="164"/>
                  </a:cubicBezTo>
                  <a:cubicBezTo>
                    <a:pt x="157" y="139"/>
                    <a:pt x="158" y="99"/>
                    <a:pt x="157" y="66"/>
                  </a:cubicBezTo>
                  <a:cubicBezTo>
                    <a:pt x="156" y="37"/>
                    <a:pt x="138" y="0"/>
                    <a:pt x="109" y="2"/>
                  </a:cubicBez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86">
              <a:extLst>
                <a:ext uri="{FF2B5EF4-FFF2-40B4-BE49-F238E27FC236}">
                  <a16:creationId xmlns:a16="http://schemas.microsoft.com/office/drawing/2014/main" id="{F572C3FC-51C7-4723-9803-E1B5C706B8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4" y="1064"/>
              <a:ext cx="47" cy="136"/>
            </a:xfrm>
            <a:custGeom>
              <a:avLst/>
              <a:gdLst>
                <a:gd name="T0" fmla="*/ 2 w 20"/>
                <a:gd name="T1" fmla="*/ 57 h 57"/>
                <a:gd name="T2" fmla="*/ 13 w 20"/>
                <a:gd name="T3" fmla="*/ 55 h 57"/>
                <a:gd name="T4" fmla="*/ 16 w 20"/>
                <a:gd name="T5" fmla="*/ 54 h 57"/>
                <a:gd name="T6" fmla="*/ 15 w 20"/>
                <a:gd name="T7" fmla="*/ 48 h 57"/>
                <a:gd name="T8" fmla="*/ 11 w 20"/>
                <a:gd name="T9" fmla="*/ 35 h 57"/>
                <a:gd name="T10" fmla="*/ 1 w 20"/>
                <a:gd name="T11" fmla="*/ 0 h 57"/>
                <a:gd name="T12" fmla="*/ 14 w 20"/>
                <a:gd name="T13" fmla="*/ 34 h 57"/>
                <a:gd name="T14" fmla="*/ 18 w 20"/>
                <a:gd name="T15" fmla="*/ 48 h 57"/>
                <a:gd name="T16" fmla="*/ 19 w 20"/>
                <a:gd name="T17" fmla="*/ 54 h 57"/>
                <a:gd name="T18" fmla="*/ 16 w 20"/>
                <a:gd name="T19" fmla="*/ 57 h 57"/>
                <a:gd name="T20" fmla="*/ 13 w 20"/>
                <a:gd name="T21" fmla="*/ 57 h 57"/>
                <a:gd name="T22" fmla="*/ 2 w 20"/>
                <a:gd name="T23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" h="57">
                  <a:moveTo>
                    <a:pt x="2" y="57"/>
                  </a:moveTo>
                  <a:cubicBezTo>
                    <a:pt x="2" y="56"/>
                    <a:pt x="6" y="56"/>
                    <a:pt x="13" y="55"/>
                  </a:cubicBezTo>
                  <a:cubicBezTo>
                    <a:pt x="14" y="55"/>
                    <a:pt x="16" y="55"/>
                    <a:pt x="16" y="54"/>
                  </a:cubicBezTo>
                  <a:cubicBezTo>
                    <a:pt x="17" y="52"/>
                    <a:pt x="16" y="51"/>
                    <a:pt x="15" y="48"/>
                  </a:cubicBezTo>
                  <a:cubicBezTo>
                    <a:pt x="14" y="44"/>
                    <a:pt x="12" y="40"/>
                    <a:pt x="11" y="35"/>
                  </a:cubicBezTo>
                  <a:cubicBezTo>
                    <a:pt x="4" y="16"/>
                    <a:pt x="0" y="0"/>
                    <a:pt x="1" y="0"/>
                  </a:cubicBezTo>
                  <a:cubicBezTo>
                    <a:pt x="1" y="0"/>
                    <a:pt x="7" y="15"/>
                    <a:pt x="14" y="34"/>
                  </a:cubicBezTo>
                  <a:cubicBezTo>
                    <a:pt x="15" y="39"/>
                    <a:pt x="17" y="43"/>
                    <a:pt x="18" y="48"/>
                  </a:cubicBezTo>
                  <a:cubicBezTo>
                    <a:pt x="19" y="50"/>
                    <a:pt x="20" y="52"/>
                    <a:pt x="19" y="54"/>
                  </a:cubicBezTo>
                  <a:cubicBezTo>
                    <a:pt x="18" y="56"/>
                    <a:pt x="17" y="57"/>
                    <a:pt x="16" y="57"/>
                  </a:cubicBezTo>
                  <a:cubicBezTo>
                    <a:pt x="15" y="57"/>
                    <a:pt x="14" y="57"/>
                    <a:pt x="13" y="57"/>
                  </a:cubicBezTo>
                  <a:cubicBezTo>
                    <a:pt x="6" y="57"/>
                    <a:pt x="2" y="57"/>
                    <a:pt x="2" y="5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87">
              <a:extLst>
                <a:ext uri="{FF2B5EF4-FFF2-40B4-BE49-F238E27FC236}">
                  <a16:creationId xmlns:a16="http://schemas.microsoft.com/office/drawing/2014/main" id="{34D0416B-963A-445E-97E5-C4AFA48E3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" y="1342"/>
              <a:ext cx="155" cy="83"/>
            </a:xfrm>
            <a:custGeom>
              <a:avLst/>
              <a:gdLst>
                <a:gd name="T0" fmla="*/ 65 w 65"/>
                <a:gd name="T1" fmla="*/ 20 h 35"/>
                <a:gd name="T2" fmla="*/ 0 w 65"/>
                <a:gd name="T3" fmla="*/ 0 h 35"/>
                <a:gd name="T4" fmla="*/ 65 w 65"/>
                <a:gd name="T5" fmla="*/ 32 h 35"/>
                <a:gd name="T6" fmla="*/ 65 w 65"/>
                <a:gd name="T7" fmla="*/ 2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" h="35">
                  <a:moveTo>
                    <a:pt x="65" y="20"/>
                  </a:moveTo>
                  <a:cubicBezTo>
                    <a:pt x="65" y="20"/>
                    <a:pt x="32" y="21"/>
                    <a:pt x="0" y="0"/>
                  </a:cubicBezTo>
                  <a:cubicBezTo>
                    <a:pt x="0" y="0"/>
                    <a:pt x="15" y="35"/>
                    <a:pt x="65" y="32"/>
                  </a:cubicBezTo>
                  <a:lnTo>
                    <a:pt x="65" y="20"/>
                  </a:ln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88">
              <a:extLst>
                <a:ext uri="{FF2B5EF4-FFF2-40B4-BE49-F238E27FC236}">
                  <a16:creationId xmlns:a16="http://schemas.microsoft.com/office/drawing/2014/main" id="{2BD7781D-D389-4D44-BBF8-AD1C1C4814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9" y="1226"/>
              <a:ext cx="52" cy="35"/>
            </a:xfrm>
            <a:custGeom>
              <a:avLst/>
              <a:gdLst>
                <a:gd name="T0" fmla="*/ 21 w 22"/>
                <a:gd name="T1" fmla="*/ 5 h 15"/>
                <a:gd name="T2" fmla="*/ 10 w 22"/>
                <a:gd name="T3" fmla="*/ 0 h 15"/>
                <a:gd name="T4" fmla="*/ 2 w 22"/>
                <a:gd name="T5" fmla="*/ 4 h 15"/>
                <a:gd name="T6" fmla="*/ 2 w 22"/>
                <a:gd name="T7" fmla="*/ 12 h 15"/>
                <a:gd name="T8" fmla="*/ 10 w 22"/>
                <a:gd name="T9" fmla="*/ 15 h 15"/>
                <a:gd name="T10" fmla="*/ 19 w 22"/>
                <a:gd name="T11" fmla="*/ 10 h 15"/>
                <a:gd name="T12" fmla="*/ 21 w 22"/>
                <a:gd name="T13" fmla="*/ 8 h 15"/>
                <a:gd name="T14" fmla="*/ 21 w 22"/>
                <a:gd name="T15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5">
                  <a:moveTo>
                    <a:pt x="21" y="5"/>
                  </a:moveTo>
                  <a:cubicBezTo>
                    <a:pt x="19" y="2"/>
                    <a:pt x="15" y="0"/>
                    <a:pt x="10" y="0"/>
                  </a:cubicBezTo>
                  <a:cubicBezTo>
                    <a:pt x="7" y="0"/>
                    <a:pt x="4" y="2"/>
                    <a:pt x="2" y="4"/>
                  </a:cubicBezTo>
                  <a:cubicBezTo>
                    <a:pt x="1" y="6"/>
                    <a:pt x="0" y="10"/>
                    <a:pt x="2" y="12"/>
                  </a:cubicBezTo>
                  <a:cubicBezTo>
                    <a:pt x="3" y="15"/>
                    <a:pt x="7" y="15"/>
                    <a:pt x="10" y="15"/>
                  </a:cubicBezTo>
                  <a:cubicBezTo>
                    <a:pt x="14" y="14"/>
                    <a:pt x="16" y="12"/>
                    <a:pt x="19" y="10"/>
                  </a:cubicBezTo>
                  <a:cubicBezTo>
                    <a:pt x="20" y="9"/>
                    <a:pt x="21" y="9"/>
                    <a:pt x="21" y="8"/>
                  </a:cubicBezTo>
                  <a:cubicBezTo>
                    <a:pt x="22" y="7"/>
                    <a:pt x="22" y="6"/>
                    <a:pt x="21" y="5"/>
                  </a:cubicBezTo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89">
              <a:extLst>
                <a:ext uri="{FF2B5EF4-FFF2-40B4-BE49-F238E27FC236}">
                  <a16:creationId xmlns:a16="http://schemas.microsoft.com/office/drawing/2014/main" id="{EBF9D8A9-8942-43ED-874E-46D935FBE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6" y="1209"/>
              <a:ext cx="52" cy="48"/>
            </a:xfrm>
            <a:custGeom>
              <a:avLst/>
              <a:gdLst>
                <a:gd name="T0" fmla="*/ 1 w 22"/>
                <a:gd name="T1" fmla="*/ 0 h 20"/>
                <a:gd name="T2" fmla="*/ 8 w 22"/>
                <a:gd name="T3" fmla="*/ 12 h 20"/>
                <a:gd name="T4" fmla="*/ 22 w 22"/>
                <a:gd name="T5" fmla="*/ 18 h 20"/>
                <a:gd name="T6" fmla="*/ 17 w 22"/>
                <a:gd name="T7" fmla="*/ 20 h 20"/>
                <a:gd name="T8" fmla="*/ 6 w 22"/>
                <a:gd name="T9" fmla="*/ 15 h 20"/>
                <a:gd name="T10" fmla="*/ 0 w 22"/>
                <a:gd name="T11" fmla="*/ 5 h 20"/>
                <a:gd name="T12" fmla="*/ 1 w 22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0">
                  <a:moveTo>
                    <a:pt x="1" y="0"/>
                  </a:moveTo>
                  <a:cubicBezTo>
                    <a:pt x="3" y="0"/>
                    <a:pt x="2" y="7"/>
                    <a:pt x="8" y="12"/>
                  </a:cubicBezTo>
                  <a:cubicBezTo>
                    <a:pt x="14" y="18"/>
                    <a:pt x="22" y="17"/>
                    <a:pt x="22" y="18"/>
                  </a:cubicBezTo>
                  <a:cubicBezTo>
                    <a:pt x="22" y="19"/>
                    <a:pt x="20" y="20"/>
                    <a:pt x="17" y="20"/>
                  </a:cubicBezTo>
                  <a:cubicBezTo>
                    <a:pt x="14" y="20"/>
                    <a:pt x="9" y="19"/>
                    <a:pt x="6" y="15"/>
                  </a:cubicBezTo>
                  <a:cubicBezTo>
                    <a:pt x="2" y="12"/>
                    <a:pt x="0" y="8"/>
                    <a:pt x="0" y="5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90">
              <a:extLst>
                <a:ext uri="{FF2B5EF4-FFF2-40B4-BE49-F238E27FC236}">
                  <a16:creationId xmlns:a16="http://schemas.microsoft.com/office/drawing/2014/main" id="{739A4F90-0D85-45AE-B95B-F341FB34E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2" y="1014"/>
              <a:ext cx="76" cy="24"/>
            </a:xfrm>
            <a:custGeom>
              <a:avLst/>
              <a:gdLst>
                <a:gd name="T0" fmla="*/ 32 w 32"/>
                <a:gd name="T1" fmla="*/ 6 h 10"/>
                <a:gd name="T2" fmla="*/ 16 w 32"/>
                <a:gd name="T3" fmla="*/ 7 h 10"/>
                <a:gd name="T4" fmla="*/ 1 w 32"/>
                <a:gd name="T5" fmla="*/ 8 h 10"/>
                <a:gd name="T6" fmla="*/ 4 w 32"/>
                <a:gd name="T7" fmla="*/ 4 h 10"/>
                <a:gd name="T8" fmla="*/ 16 w 32"/>
                <a:gd name="T9" fmla="*/ 1 h 10"/>
                <a:gd name="T10" fmla="*/ 28 w 32"/>
                <a:gd name="T11" fmla="*/ 3 h 10"/>
                <a:gd name="T12" fmla="*/ 32 w 32"/>
                <a:gd name="T1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10">
                  <a:moveTo>
                    <a:pt x="32" y="6"/>
                  </a:moveTo>
                  <a:cubicBezTo>
                    <a:pt x="31" y="8"/>
                    <a:pt x="24" y="7"/>
                    <a:pt x="16" y="7"/>
                  </a:cubicBezTo>
                  <a:cubicBezTo>
                    <a:pt x="8" y="8"/>
                    <a:pt x="2" y="10"/>
                    <a:pt x="1" y="8"/>
                  </a:cubicBezTo>
                  <a:cubicBezTo>
                    <a:pt x="0" y="8"/>
                    <a:pt x="2" y="6"/>
                    <a:pt x="4" y="4"/>
                  </a:cubicBezTo>
                  <a:cubicBezTo>
                    <a:pt x="7" y="3"/>
                    <a:pt x="11" y="1"/>
                    <a:pt x="16" y="1"/>
                  </a:cubicBezTo>
                  <a:cubicBezTo>
                    <a:pt x="21" y="0"/>
                    <a:pt x="25" y="1"/>
                    <a:pt x="28" y="3"/>
                  </a:cubicBezTo>
                  <a:cubicBezTo>
                    <a:pt x="31" y="4"/>
                    <a:pt x="32" y="5"/>
                    <a:pt x="32" y="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91">
              <a:extLst>
                <a:ext uri="{FF2B5EF4-FFF2-40B4-BE49-F238E27FC236}">
                  <a16:creationId xmlns:a16="http://schemas.microsoft.com/office/drawing/2014/main" id="{BC4303CD-0D0F-476F-AD79-E40E9C851F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4" y="993"/>
              <a:ext cx="57" cy="21"/>
            </a:xfrm>
            <a:custGeom>
              <a:avLst/>
              <a:gdLst>
                <a:gd name="T0" fmla="*/ 24 w 24"/>
                <a:gd name="T1" fmla="*/ 7 h 9"/>
                <a:gd name="T2" fmla="*/ 12 w 24"/>
                <a:gd name="T3" fmla="*/ 7 h 9"/>
                <a:gd name="T4" fmla="*/ 1 w 24"/>
                <a:gd name="T5" fmla="*/ 6 h 9"/>
                <a:gd name="T6" fmla="*/ 3 w 24"/>
                <a:gd name="T7" fmla="*/ 2 h 9"/>
                <a:gd name="T8" fmla="*/ 13 w 24"/>
                <a:gd name="T9" fmla="*/ 0 h 9"/>
                <a:gd name="T10" fmla="*/ 22 w 24"/>
                <a:gd name="T11" fmla="*/ 3 h 9"/>
                <a:gd name="T12" fmla="*/ 24 w 24"/>
                <a:gd name="T13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9">
                  <a:moveTo>
                    <a:pt x="24" y="7"/>
                  </a:moveTo>
                  <a:cubicBezTo>
                    <a:pt x="22" y="9"/>
                    <a:pt x="18" y="7"/>
                    <a:pt x="12" y="7"/>
                  </a:cubicBezTo>
                  <a:cubicBezTo>
                    <a:pt x="7" y="6"/>
                    <a:pt x="2" y="7"/>
                    <a:pt x="1" y="6"/>
                  </a:cubicBezTo>
                  <a:cubicBezTo>
                    <a:pt x="0" y="5"/>
                    <a:pt x="1" y="3"/>
                    <a:pt x="3" y="2"/>
                  </a:cubicBezTo>
                  <a:cubicBezTo>
                    <a:pt x="5" y="1"/>
                    <a:pt x="9" y="0"/>
                    <a:pt x="13" y="0"/>
                  </a:cubicBezTo>
                  <a:cubicBezTo>
                    <a:pt x="17" y="0"/>
                    <a:pt x="20" y="2"/>
                    <a:pt x="22" y="3"/>
                  </a:cubicBezTo>
                  <a:cubicBezTo>
                    <a:pt x="24" y="5"/>
                    <a:pt x="24" y="6"/>
                    <a:pt x="24" y="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92">
              <a:extLst>
                <a:ext uri="{FF2B5EF4-FFF2-40B4-BE49-F238E27FC236}">
                  <a16:creationId xmlns:a16="http://schemas.microsoft.com/office/drawing/2014/main" id="{A9C5F1E6-B730-422D-9F3F-89380FA4DE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9" y="789"/>
              <a:ext cx="323" cy="363"/>
            </a:xfrm>
            <a:custGeom>
              <a:avLst/>
              <a:gdLst>
                <a:gd name="T0" fmla="*/ 8 w 136"/>
                <a:gd name="T1" fmla="*/ 67 h 153"/>
                <a:gd name="T2" fmla="*/ 89 w 136"/>
                <a:gd name="T3" fmla="*/ 3 h 153"/>
                <a:gd name="T4" fmla="*/ 136 w 136"/>
                <a:gd name="T5" fmla="*/ 32 h 153"/>
                <a:gd name="T6" fmla="*/ 104 w 136"/>
                <a:gd name="T7" fmla="*/ 67 h 153"/>
                <a:gd name="T8" fmla="*/ 80 w 136"/>
                <a:gd name="T9" fmla="*/ 77 h 153"/>
                <a:gd name="T10" fmla="*/ 73 w 136"/>
                <a:gd name="T11" fmla="*/ 102 h 153"/>
                <a:gd name="T12" fmla="*/ 43 w 136"/>
                <a:gd name="T13" fmla="*/ 123 h 153"/>
                <a:gd name="T14" fmla="*/ 39 w 136"/>
                <a:gd name="T15" fmla="*/ 139 h 153"/>
                <a:gd name="T16" fmla="*/ 13 w 136"/>
                <a:gd name="T17" fmla="*/ 151 h 153"/>
                <a:gd name="T18" fmla="*/ 4 w 136"/>
                <a:gd name="T19" fmla="*/ 131 h 153"/>
                <a:gd name="T20" fmla="*/ 3 w 136"/>
                <a:gd name="T21" fmla="*/ 109 h 153"/>
                <a:gd name="T22" fmla="*/ 8 w 136"/>
                <a:gd name="T23" fmla="*/ 6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6" h="153">
                  <a:moveTo>
                    <a:pt x="8" y="67"/>
                  </a:moveTo>
                  <a:cubicBezTo>
                    <a:pt x="17" y="39"/>
                    <a:pt x="59" y="0"/>
                    <a:pt x="89" y="3"/>
                  </a:cubicBezTo>
                  <a:cubicBezTo>
                    <a:pt x="136" y="32"/>
                    <a:pt x="136" y="32"/>
                    <a:pt x="136" y="32"/>
                  </a:cubicBezTo>
                  <a:cubicBezTo>
                    <a:pt x="132" y="48"/>
                    <a:pt x="120" y="62"/>
                    <a:pt x="104" y="67"/>
                  </a:cubicBezTo>
                  <a:cubicBezTo>
                    <a:pt x="95" y="69"/>
                    <a:pt x="85" y="70"/>
                    <a:pt x="80" y="77"/>
                  </a:cubicBezTo>
                  <a:cubicBezTo>
                    <a:pt x="75" y="84"/>
                    <a:pt x="78" y="95"/>
                    <a:pt x="73" y="102"/>
                  </a:cubicBezTo>
                  <a:cubicBezTo>
                    <a:pt x="66" y="113"/>
                    <a:pt x="48" y="112"/>
                    <a:pt x="43" y="123"/>
                  </a:cubicBezTo>
                  <a:cubicBezTo>
                    <a:pt x="41" y="128"/>
                    <a:pt x="42" y="134"/>
                    <a:pt x="39" y="139"/>
                  </a:cubicBezTo>
                  <a:cubicBezTo>
                    <a:pt x="36" y="145"/>
                    <a:pt x="19" y="153"/>
                    <a:pt x="13" y="151"/>
                  </a:cubicBezTo>
                  <a:cubicBezTo>
                    <a:pt x="6" y="149"/>
                    <a:pt x="6" y="137"/>
                    <a:pt x="4" y="131"/>
                  </a:cubicBezTo>
                  <a:cubicBezTo>
                    <a:pt x="0" y="120"/>
                    <a:pt x="2" y="115"/>
                    <a:pt x="3" y="109"/>
                  </a:cubicBezTo>
                  <a:cubicBezTo>
                    <a:pt x="7" y="95"/>
                    <a:pt x="3" y="80"/>
                    <a:pt x="8" y="6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93">
              <a:extLst>
                <a:ext uri="{FF2B5EF4-FFF2-40B4-BE49-F238E27FC236}">
                  <a16:creationId xmlns:a16="http://schemas.microsoft.com/office/drawing/2014/main" id="{99D24EEC-3B91-414B-AF82-9A3672B068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" y="1126"/>
              <a:ext cx="88" cy="138"/>
            </a:xfrm>
            <a:custGeom>
              <a:avLst/>
              <a:gdLst>
                <a:gd name="T0" fmla="*/ 37 w 37"/>
                <a:gd name="T1" fmla="*/ 15 h 58"/>
                <a:gd name="T2" fmla="*/ 29 w 37"/>
                <a:gd name="T3" fmla="*/ 2 h 58"/>
                <a:gd name="T4" fmla="*/ 1 w 37"/>
                <a:gd name="T5" fmla="*/ 25 h 58"/>
                <a:gd name="T6" fmla="*/ 34 w 37"/>
                <a:gd name="T7" fmla="*/ 52 h 58"/>
                <a:gd name="T8" fmla="*/ 37 w 37"/>
                <a:gd name="T9" fmla="*/ 1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58">
                  <a:moveTo>
                    <a:pt x="37" y="15"/>
                  </a:moveTo>
                  <a:cubicBezTo>
                    <a:pt x="37" y="12"/>
                    <a:pt x="33" y="3"/>
                    <a:pt x="29" y="2"/>
                  </a:cubicBezTo>
                  <a:cubicBezTo>
                    <a:pt x="20" y="0"/>
                    <a:pt x="2" y="0"/>
                    <a:pt x="1" y="25"/>
                  </a:cubicBezTo>
                  <a:cubicBezTo>
                    <a:pt x="0" y="58"/>
                    <a:pt x="34" y="53"/>
                    <a:pt x="34" y="52"/>
                  </a:cubicBezTo>
                  <a:cubicBezTo>
                    <a:pt x="34" y="51"/>
                    <a:pt x="36" y="28"/>
                    <a:pt x="37" y="15"/>
                  </a:cubicBez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94">
              <a:extLst>
                <a:ext uri="{FF2B5EF4-FFF2-40B4-BE49-F238E27FC236}">
                  <a16:creationId xmlns:a16="http://schemas.microsoft.com/office/drawing/2014/main" id="{7036766F-95BC-4F3C-8703-20F428A51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3" y="1154"/>
              <a:ext cx="33" cy="72"/>
            </a:xfrm>
            <a:custGeom>
              <a:avLst/>
              <a:gdLst>
                <a:gd name="T0" fmla="*/ 14 w 14"/>
                <a:gd name="T1" fmla="*/ 27 h 30"/>
                <a:gd name="T2" fmla="*/ 13 w 14"/>
                <a:gd name="T3" fmla="*/ 28 h 30"/>
                <a:gd name="T4" fmla="*/ 8 w 14"/>
                <a:gd name="T5" fmla="*/ 28 h 30"/>
                <a:gd name="T6" fmla="*/ 2 w 14"/>
                <a:gd name="T7" fmla="*/ 14 h 30"/>
                <a:gd name="T8" fmla="*/ 4 w 14"/>
                <a:gd name="T9" fmla="*/ 6 h 30"/>
                <a:gd name="T10" fmla="*/ 9 w 14"/>
                <a:gd name="T11" fmla="*/ 2 h 30"/>
                <a:gd name="T12" fmla="*/ 12 w 14"/>
                <a:gd name="T13" fmla="*/ 3 h 30"/>
                <a:gd name="T14" fmla="*/ 12 w 14"/>
                <a:gd name="T15" fmla="*/ 5 h 30"/>
                <a:gd name="T16" fmla="*/ 13 w 14"/>
                <a:gd name="T17" fmla="*/ 3 h 30"/>
                <a:gd name="T18" fmla="*/ 12 w 14"/>
                <a:gd name="T19" fmla="*/ 1 h 30"/>
                <a:gd name="T20" fmla="*/ 9 w 14"/>
                <a:gd name="T21" fmla="*/ 0 h 30"/>
                <a:gd name="T22" fmla="*/ 2 w 14"/>
                <a:gd name="T23" fmla="*/ 5 h 30"/>
                <a:gd name="T24" fmla="*/ 0 w 14"/>
                <a:gd name="T25" fmla="*/ 14 h 30"/>
                <a:gd name="T26" fmla="*/ 8 w 14"/>
                <a:gd name="T27" fmla="*/ 29 h 30"/>
                <a:gd name="T28" fmla="*/ 13 w 14"/>
                <a:gd name="T29" fmla="*/ 28 h 30"/>
                <a:gd name="T30" fmla="*/ 14 w 14"/>
                <a:gd name="T31" fmla="*/ 2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30">
                  <a:moveTo>
                    <a:pt x="14" y="27"/>
                  </a:moveTo>
                  <a:cubicBezTo>
                    <a:pt x="14" y="27"/>
                    <a:pt x="14" y="27"/>
                    <a:pt x="13" y="28"/>
                  </a:cubicBezTo>
                  <a:cubicBezTo>
                    <a:pt x="12" y="28"/>
                    <a:pt x="10" y="28"/>
                    <a:pt x="8" y="28"/>
                  </a:cubicBezTo>
                  <a:cubicBezTo>
                    <a:pt x="5" y="26"/>
                    <a:pt x="2" y="20"/>
                    <a:pt x="2" y="14"/>
                  </a:cubicBezTo>
                  <a:cubicBezTo>
                    <a:pt x="2" y="11"/>
                    <a:pt x="3" y="8"/>
                    <a:pt x="4" y="6"/>
                  </a:cubicBezTo>
                  <a:cubicBezTo>
                    <a:pt x="5" y="4"/>
                    <a:pt x="7" y="2"/>
                    <a:pt x="9" y="2"/>
                  </a:cubicBezTo>
                  <a:cubicBezTo>
                    <a:pt x="11" y="1"/>
                    <a:pt x="12" y="3"/>
                    <a:pt x="12" y="3"/>
                  </a:cubicBezTo>
                  <a:cubicBezTo>
                    <a:pt x="13" y="4"/>
                    <a:pt x="12" y="5"/>
                    <a:pt x="12" y="5"/>
                  </a:cubicBezTo>
                  <a:cubicBezTo>
                    <a:pt x="13" y="5"/>
                    <a:pt x="13" y="5"/>
                    <a:pt x="13" y="3"/>
                  </a:cubicBezTo>
                  <a:cubicBezTo>
                    <a:pt x="13" y="3"/>
                    <a:pt x="13" y="2"/>
                    <a:pt x="12" y="1"/>
                  </a:cubicBezTo>
                  <a:cubicBezTo>
                    <a:pt x="11" y="0"/>
                    <a:pt x="10" y="0"/>
                    <a:pt x="9" y="0"/>
                  </a:cubicBezTo>
                  <a:cubicBezTo>
                    <a:pt x="6" y="0"/>
                    <a:pt x="4" y="2"/>
                    <a:pt x="2" y="5"/>
                  </a:cubicBezTo>
                  <a:cubicBezTo>
                    <a:pt x="1" y="8"/>
                    <a:pt x="0" y="11"/>
                    <a:pt x="0" y="14"/>
                  </a:cubicBezTo>
                  <a:cubicBezTo>
                    <a:pt x="0" y="21"/>
                    <a:pt x="3" y="27"/>
                    <a:pt x="8" y="29"/>
                  </a:cubicBezTo>
                  <a:cubicBezTo>
                    <a:pt x="10" y="30"/>
                    <a:pt x="12" y="29"/>
                    <a:pt x="13" y="28"/>
                  </a:cubicBezTo>
                  <a:cubicBezTo>
                    <a:pt x="14" y="28"/>
                    <a:pt x="14" y="27"/>
                    <a:pt x="14" y="27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95">
              <a:extLst>
                <a:ext uri="{FF2B5EF4-FFF2-40B4-BE49-F238E27FC236}">
                  <a16:creationId xmlns:a16="http://schemas.microsoft.com/office/drawing/2014/main" id="{348282D2-0957-421C-A450-33312242C98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" y="874"/>
              <a:ext cx="186" cy="221"/>
            </a:xfrm>
            <a:custGeom>
              <a:avLst/>
              <a:gdLst>
                <a:gd name="T0" fmla="*/ 71 w 78"/>
                <a:gd name="T1" fmla="*/ 22 h 93"/>
                <a:gd name="T2" fmla="*/ 71 w 78"/>
                <a:gd name="T3" fmla="*/ 22 h 93"/>
                <a:gd name="T4" fmla="*/ 48 w 78"/>
                <a:gd name="T5" fmla="*/ 3 h 93"/>
                <a:gd name="T6" fmla="*/ 18 w 78"/>
                <a:gd name="T7" fmla="*/ 8 h 93"/>
                <a:gd name="T8" fmla="*/ 6 w 78"/>
                <a:gd name="T9" fmla="*/ 21 h 93"/>
                <a:gd name="T10" fmla="*/ 16 w 78"/>
                <a:gd name="T11" fmla="*/ 32 h 93"/>
                <a:gd name="T12" fmla="*/ 6 w 78"/>
                <a:gd name="T13" fmla="*/ 61 h 93"/>
                <a:gd name="T14" fmla="*/ 36 w 78"/>
                <a:gd name="T15" fmla="*/ 66 h 93"/>
                <a:gd name="T16" fmla="*/ 18 w 78"/>
                <a:gd name="T17" fmla="*/ 90 h 93"/>
                <a:gd name="T18" fmla="*/ 64 w 78"/>
                <a:gd name="T19" fmla="*/ 72 h 93"/>
                <a:gd name="T20" fmla="*/ 71 w 78"/>
                <a:gd name="T21" fmla="*/ 22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8" h="93">
                  <a:moveTo>
                    <a:pt x="71" y="22"/>
                  </a:moveTo>
                  <a:cubicBezTo>
                    <a:pt x="71" y="22"/>
                    <a:pt x="71" y="22"/>
                    <a:pt x="71" y="22"/>
                  </a:cubicBezTo>
                  <a:cubicBezTo>
                    <a:pt x="72" y="12"/>
                    <a:pt x="59" y="5"/>
                    <a:pt x="48" y="3"/>
                  </a:cubicBezTo>
                  <a:cubicBezTo>
                    <a:pt x="38" y="0"/>
                    <a:pt x="27" y="3"/>
                    <a:pt x="18" y="8"/>
                  </a:cubicBezTo>
                  <a:cubicBezTo>
                    <a:pt x="13" y="11"/>
                    <a:pt x="7" y="15"/>
                    <a:pt x="6" y="21"/>
                  </a:cubicBezTo>
                  <a:cubicBezTo>
                    <a:pt x="5" y="27"/>
                    <a:pt x="11" y="35"/>
                    <a:pt x="16" y="32"/>
                  </a:cubicBezTo>
                  <a:cubicBezTo>
                    <a:pt x="5" y="36"/>
                    <a:pt x="0" y="51"/>
                    <a:pt x="6" y="61"/>
                  </a:cubicBezTo>
                  <a:cubicBezTo>
                    <a:pt x="11" y="71"/>
                    <a:pt x="27" y="74"/>
                    <a:pt x="36" y="66"/>
                  </a:cubicBezTo>
                  <a:cubicBezTo>
                    <a:pt x="33" y="76"/>
                    <a:pt x="27" y="85"/>
                    <a:pt x="18" y="90"/>
                  </a:cubicBezTo>
                  <a:cubicBezTo>
                    <a:pt x="36" y="93"/>
                    <a:pt x="54" y="85"/>
                    <a:pt x="64" y="72"/>
                  </a:cubicBezTo>
                  <a:cubicBezTo>
                    <a:pt x="75" y="58"/>
                    <a:pt x="78" y="38"/>
                    <a:pt x="71" y="2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96">
              <a:extLst>
                <a:ext uri="{FF2B5EF4-FFF2-40B4-BE49-F238E27FC236}">
                  <a16:creationId xmlns:a16="http://schemas.microsoft.com/office/drawing/2014/main" id="{25003CAC-40F7-45D0-A37B-242824B85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2" y="903"/>
              <a:ext cx="55" cy="149"/>
            </a:xfrm>
            <a:custGeom>
              <a:avLst/>
              <a:gdLst>
                <a:gd name="T0" fmla="*/ 1 w 23"/>
                <a:gd name="T1" fmla="*/ 63 h 63"/>
                <a:gd name="T2" fmla="*/ 0 w 23"/>
                <a:gd name="T3" fmla="*/ 53 h 63"/>
                <a:gd name="T4" fmla="*/ 4 w 23"/>
                <a:gd name="T5" fmla="*/ 29 h 63"/>
                <a:gd name="T6" fmla="*/ 15 w 23"/>
                <a:gd name="T7" fmla="*/ 8 h 63"/>
                <a:gd name="T8" fmla="*/ 22 w 23"/>
                <a:gd name="T9" fmla="*/ 0 h 63"/>
                <a:gd name="T10" fmla="*/ 6 w 23"/>
                <a:gd name="T11" fmla="*/ 30 h 63"/>
                <a:gd name="T12" fmla="*/ 1 w 23"/>
                <a:gd name="T13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63">
                  <a:moveTo>
                    <a:pt x="1" y="63"/>
                  </a:moveTo>
                  <a:cubicBezTo>
                    <a:pt x="1" y="63"/>
                    <a:pt x="0" y="60"/>
                    <a:pt x="0" y="53"/>
                  </a:cubicBezTo>
                  <a:cubicBezTo>
                    <a:pt x="0" y="47"/>
                    <a:pt x="1" y="38"/>
                    <a:pt x="4" y="29"/>
                  </a:cubicBezTo>
                  <a:cubicBezTo>
                    <a:pt x="7" y="20"/>
                    <a:pt x="11" y="13"/>
                    <a:pt x="15" y="8"/>
                  </a:cubicBezTo>
                  <a:cubicBezTo>
                    <a:pt x="19" y="3"/>
                    <a:pt x="22" y="0"/>
                    <a:pt x="22" y="0"/>
                  </a:cubicBezTo>
                  <a:cubicBezTo>
                    <a:pt x="23" y="1"/>
                    <a:pt x="12" y="12"/>
                    <a:pt x="6" y="30"/>
                  </a:cubicBezTo>
                  <a:cubicBezTo>
                    <a:pt x="0" y="48"/>
                    <a:pt x="2" y="63"/>
                    <a:pt x="1" y="63"/>
                  </a:cubicBezTo>
                  <a:close/>
                </a:path>
              </a:pathLst>
            </a:custGeom>
            <a:solidFill>
              <a:srgbClr val="FF72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97">
              <a:extLst>
                <a:ext uri="{FF2B5EF4-FFF2-40B4-BE49-F238E27FC236}">
                  <a16:creationId xmlns:a16="http://schemas.microsoft.com/office/drawing/2014/main" id="{CA5840FA-37E1-4605-8D25-2B0DD42879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8" y="836"/>
              <a:ext cx="162" cy="276"/>
            </a:xfrm>
            <a:custGeom>
              <a:avLst/>
              <a:gdLst>
                <a:gd name="T0" fmla="*/ 0 w 68"/>
                <a:gd name="T1" fmla="*/ 2 h 116"/>
                <a:gd name="T2" fmla="*/ 33 w 68"/>
                <a:gd name="T3" fmla="*/ 44 h 116"/>
                <a:gd name="T4" fmla="*/ 53 w 68"/>
                <a:gd name="T5" fmla="*/ 116 h 116"/>
                <a:gd name="T6" fmla="*/ 67 w 68"/>
                <a:gd name="T7" fmla="*/ 68 h 116"/>
                <a:gd name="T8" fmla="*/ 48 w 68"/>
                <a:gd name="T9" fmla="*/ 20 h 116"/>
                <a:gd name="T10" fmla="*/ 0 w 68"/>
                <a:gd name="T11" fmla="*/ 2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8" h="116">
                  <a:moveTo>
                    <a:pt x="0" y="2"/>
                  </a:moveTo>
                  <a:cubicBezTo>
                    <a:pt x="3" y="16"/>
                    <a:pt x="24" y="33"/>
                    <a:pt x="33" y="44"/>
                  </a:cubicBezTo>
                  <a:cubicBezTo>
                    <a:pt x="50" y="64"/>
                    <a:pt x="53" y="71"/>
                    <a:pt x="53" y="116"/>
                  </a:cubicBezTo>
                  <a:cubicBezTo>
                    <a:pt x="62" y="101"/>
                    <a:pt x="68" y="85"/>
                    <a:pt x="67" y="68"/>
                  </a:cubicBezTo>
                  <a:cubicBezTo>
                    <a:pt x="67" y="50"/>
                    <a:pt x="60" y="32"/>
                    <a:pt x="48" y="20"/>
                  </a:cubicBezTo>
                  <a:cubicBezTo>
                    <a:pt x="36" y="7"/>
                    <a:pt x="17" y="0"/>
                    <a:pt x="0" y="2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98">
              <a:extLst>
                <a:ext uri="{FF2B5EF4-FFF2-40B4-BE49-F238E27FC236}">
                  <a16:creationId xmlns:a16="http://schemas.microsoft.com/office/drawing/2014/main" id="{5CF1AA9C-8FBD-460B-9DB0-662266AD95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" y="1437"/>
              <a:ext cx="901" cy="943"/>
            </a:xfrm>
            <a:custGeom>
              <a:avLst/>
              <a:gdLst>
                <a:gd name="T0" fmla="*/ 379 w 379"/>
                <a:gd name="T1" fmla="*/ 122 h 397"/>
                <a:gd name="T2" fmla="*/ 333 w 379"/>
                <a:gd name="T3" fmla="*/ 49 h 397"/>
                <a:gd name="T4" fmla="*/ 303 w 379"/>
                <a:gd name="T5" fmla="*/ 28 h 397"/>
                <a:gd name="T6" fmla="*/ 289 w 379"/>
                <a:gd name="T7" fmla="*/ 23 h 397"/>
                <a:gd name="T8" fmla="*/ 237 w 379"/>
                <a:gd name="T9" fmla="*/ 12 h 397"/>
                <a:gd name="T10" fmla="*/ 200 w 379"/>
                <a:gd name="T11" fmla="*/ 50 h 397"/>
                <a:gd name="T12" fmla="*/ 132 w 379"/>
                <a:gd name="T13" fmla="*/ 0 h 397"/>
                <a:gd name="T14" fmla="*/ 57 w 379"/>
                <a:gd name="T15" fmla="*/ 17 h 397"/>
                <a:gd name="T16" fmla="*/ 8 w 379"/>
                <a:gd name="T17" fmla="*/ 96 h 397"/>
                <a:gd name="T18" fmla="*/ 0 w 379"/>
                <a:gd name="T19" fmla="*/ 156 h 397"/>
                <a:gd name="T20" fmla="*/ 103 w 379"/>
                <a:gd name="T21" fmla="*/ 166 h 397"/>
                <a:gd name="T22" fmla="*/ 113 w 379"/>
                <a:gd name="T23" fmla="*/ 319 h 397"/>
                <a:gd name="T24" fmla="*/ 164 w 379"/>
                <a:gd name="T25" fmla="*/ 355 h 397"/>
                <a:gd name="T26" fmla="*/ 315 w 379"/>
                <a:gd name="T27" fmla="*/ 394 h 397"/>
                <a:gd name="T28" fmla="*/ 327 w 379"/>
                <a:gd name="T29" fmla="*/ 166 h 397"/>
                <a:gd name="T30" fmla="*/ 379 w 379"/>
                <a:gd name="T31" fmla="*/ 122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9" h="397">
                  <a:moveTo>
                    <a:pt x="379" y="122"/>
                  </a:moveTo>
                  <a:cubicBezTo>
                    <a:pt x="379" y="122"/>
                    <a:pt x="343" y="61"/>
                    <a:pt x="333" y="49"/>
                  </a:cubicBezTo>
                  <a:cubicBezTo>
                    <a:pt x="323" y="38"/>
                    <a:pt x="311" y="31"/>
                    <a:pt x="303" y="28"/>
                  </a:cubicBezTo>
                  <a:cubicBezTo>
                    <a:pt x="299" y="26"/>
                    <a:pt x="294" y="24"/>
                    <a:pt x="289" y="23"/>
                  </a:cubicBezTo>
                  <a:cubicBezTo>
                    <a:pt x="237" y="12"/>
                    <a:pt x="237" y="12"/>
                    <a:pt x="237" y="12"/>
                  </a:cubicBezTo>
                  <a:cubicBezTo>
                    <a:pt x="237" y="12"/>
                    <a:pt x="237" y="47"/>
                    <a:pt x="200" y="50"/>
                  </a:cubicBezTo>
                  <a:cubicBezTo>
                    <a:pt x="163" y="52"/>
                    <a:pt x="132" y="0"/>
                    <a:pt x="132" y="0"/>
                  </a:cubicBezTo>
                  <a:cubicBezTo>
                    <a:pt x="132" y="0"/>
                    <a:pt x="72" y="9"/>
                    <a:pt x="57" y="17"/>
                  </a:cubicBezTo>
                  <a:cubicBezTo>
                    <a:pt x="43" y="24"/>
                    <a:pt x="21" y="33"/>
                    <a:pt x="8" y="96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13" y="319"/>
                    <a:pt x="113" y="319"/>
                    <a:pt x="113" y="319"/>
                  </a:cubicBezTo>
                  <a:cubicBezTo>
                    <a:pt x="164" y="355"/>
                    <a:pt x="164" y="355"/>
                    <a:pt x="164" y="355"/>
                  </a:cubicBezTo>
                  <a:cubicBezTo>
                    <a:pt x="164" y="355"/>
                    <a:pt x="306" y="392"/>
                    <a:pt x="315" y="394"/>
                  </a:cubicBezTo>
                  <a:cubicBezTo>
                    <a:pt x="324" y="397"/>
                    <a:pt x="327" y="166"/>
                    <a:pt x="327" y="166"/>
                  </a:cubicBezTo>
                  <a:cubicBezTo>
                    <a:pt x="327" y="166"/>
                    <a:pt x="364" y="142"/>
                    <a:pt x="379" y="122"/>
                  </a:cubicBezTo>
                  <a:close/>
                </a:path>
              </a:pathLst>
            </a:custGeom>
            <a:solidFill>
              <a:srgbClr val="92D3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99">
              <a:extLst>
                <a:ext uri="{FF2B5EF4-FFF2-40B4-BE49-F238E27FC236}">
                  <a16:creationId xmlns:a16="http://schemas.microsoft.com/office/drawing/2014/main" id="{92E647AB-469D-4EB9-AC1B-7D526D25DD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4" y="1665"/>
              <a:ext cx="41" cy="287"/>
            </a:xfrm>
            <a:custGeom>
              <a:avLst/>
              <a:gdLst>
                <a:gd name="T0" fmla="*/ 0 w 17"/>
                <a:gd name="T1" fmla="*/ 0 h 121"/>
                <a:gd name="T2" fmla="*/ 2 w 17"/>
                <a:gd name="T3" fmla="*/ 4 h 121"/>
                <a:gd name="T4" fmla="*/ 6 w 17"/>
                <a:gd name="T5" fmla="*/ 17 h 121"/>
                <a:gd name="T6" fmla="*/ 15 w 17"/>
                <a:gd name="T7" fmla="*/ 59 h 121"/>
                <a:gd name="T8" fmla="*/ 17 w 17"/>
                <a:gd name="T9" fmla="*/ 103 h 121"/>
                <a:gd name="T10" fmla="*/ 15 w 17"/>
                <a:gd name="T11" fmla="*/ 116 h 121"/>
                <a:gd name="T12" fmla="*/ 15 w 17"/>
                <a:gd name="T13" fmla="*/ 121 h 121"/>
                <a:gd name="T14" fmla="*/ 15 w 17"/>
                <a:gd name="T15" fmla="*/ 116 h 121"/>
                <a:gd name="T16" fmla="*/ 15 w 17"/>
                <a:gd name="T17" fmla="*/ 103 h 121"/>
                <a:gd name="T18" fmla="*/ 13 w 17"/>
                <a:gd name="T19" fmla="*/ 60 h 121"/>
                <a:gd name="T20" fmla="*/ 5 w 17"/>
                <a:gd name="T21" fmla="*/ 17 h 121"/>
                <a:gd name="T22" fmla="*/ 1 w 17"/>
                <a:gd name="T23" fmla="*/ 4 h 121"/>
                <a:gd name="T24" fmla="*/ 0 w 17"/>
                <a:gd name="T25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" h="121">
                  <a:moveTo>
                    <a:pt x="0" y="0"/>
                  </a:moveTo>
                  <a:cubicBezTo>
                    <a:pt x="0" y="0"/>
                    <a:pt x="1" y="1"/>
                    <a:pt x="2" y="4"/>
                  </a:cubicBezTo>
                  <a:cubicBezTo>
                    <a:pt x="3" y="7"/>
                    <a:pt x="4" y="11"/>
                    <a:pt x="6" y="17"/>
                  </a:cubicBezTo>
                  <a:cubicBezTo>
                    <a:pt x="9" y="27"/>
                    <a:pt x="13" y="42"/>
                    <a:pt x="15" y="59"/>
                  </a:cubicBezTo>
                  <a:cubicBezTo>
                    <a:pt x="17" y="76"/>
                    <a:pt x="17" y="92"/>
                    <a:pt x="17" y="103"/>
                  </a:cubicBezTo>
                  <a:cubicBezTo>
                    <a:pt x="16" y="109"/>
                    <a:pt x="16" y="113"/>
                    <a:pt x="15" y="116"/>
                  </a:cubicBezTo>
                  <a:cubicBezTo>
                    <a:pt x="15" y="119"/>
                    <a:pt x="15" y="121"/>
                    <a:pt x="15" y="121"/>
                  </a:cubicBezTo>
                  <a:cubicBezTo>
                    <a:pt x="14" y="121"/>
                    <a:pt x="14" y="119"/>
                    <a:pt x="15" y="116"/>
                  </a:cubicBezTo>
                  <a:cubicBezTo>
                    <a:pt x="15" y="113"/>
                    <a:pt x="15" y="108"/>
                    <a:pt x="15" y="103"/>
                  </a:cubicBezTo>
                  <a:cubicBezTo>
                    <a:pt x="16" y="92"/>
                    <a:pt x="15" y="76"/>
                    <a:pt x="13" y="60"/>
                  </a:cubicBezTo>
                  <a:cubicBezTo>
                    <a:pt x="11" y="43"/>
                    <a:pt x="8" y="28"/>
                    <a:pt x="5" y="17"/>
                  </a:cubicBezTo>
                  <a:cubicBezTo>
                    <a:pt x="3" y="12"/>
                    <a:pt x="2" y="7"/>
                    <a:pt x="1" y="4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92D3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00">
              <a:extLst>
                <a:ext uri="{FF2B5EF4-FFF2-40B4-BE49-F238E27FC236}">
                  <a16:creationId xmlns:a16="http://schemas.microsoft.com/office/drawing/2014/main" id="{8CAFD10D-1B3A-45D1-BA4B-AA6ACEDEA09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" y="1812"/>
              <a:ext cx="711" cy="572"/>
            </a:xfrm>
            <a:custGeom>
              <a:avLst/>
              <a:gdLst>
                <a:gd name="T0" fmla="*/ 290 w 299"/>
                <a:gd name="T1" fmla="*/ 189 h 241"/>
                <a:gd name="T2" fmla="*/ 96 w 299"/>
                <a:gd name="T3" fmla="*/ 147 h 241"/>
                <a:gd name="T4" fmla="*/ 87 w 299"/>
                <a:gd name="T5" fmla="*/ 8 h 241"/>
                <a:gd name="T6" fmla="*/ 0 w 299"/>
                <a:gd name="T7" fmla="*/ 0 h 241"/>
                <a:gd name="T8" fmla="*/ 7 w 299"/>
                <a:gd name="T9" fmla="*/ 123 h 241"/>
                <a:gd name="T10" fmla="*/ 50 w 299"/>
                <a:gd name="T11" fmla="*/ 230 h 241"/>
                <a:gd name="T12" fmla="*/ 299 w 299"/>
                <a:gd name="T13" fmla="*/ 236 h 241"/>
                <a:gd name="T14" fmla="*/ 290 w 299"/>
                <a:gd name="T15" fmla="*/ 189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9" h="241">
                  <a:moveTo>
                    <a:pt x="290" y="189"/>
                  </a:moveTo>
                  <a:cubicBezTo>
                    <a:pt x="96" y="147"/>
                    <a:pt x="96" y="147"/>
                    <a:pt x="96" y="147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4" y="95"/>
                    <a:pt x="7" y="123"/>
                  </a:cubicBezTo>
                  <a:cubicBezTo>
                    <a:pt x="12" y="164"/>
                    <a:pt x="36" y="219"/>
                    <a:pt x="50" y="230"/>
                  </a:cubicBezTo>
                  <a:cubicBezTo>
                    <a:pt x="64" y="241"/>
                    <a:pt x="299" y="236"/>
                    <a:pt x="299" y="236"/>
                  </a:cubicBezTo>
                  <a:lnTo>
                    <a:pt x="290" y="189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01">
              <a:extLst>
                <a:ext uri="{FF2B5EF4-FFF2-40B4-BE49-F238E27FC236}">
                  <a16:creationId xmlns:a16="http://schemas.microsoft.com/office/drawing/2014/main" id="{4EC38887-72E5-401C-8336-B0179B8CD3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8" y="2156"/>
              <a:ext cx="318" cy="238"/>
            </a:xfrm>
            <a:custGeom>
              <a:avLst/>
              <a:gdLst>
                <a:gd name="T0" fmla="*/ 113 w 134"/>
                <a:gd name="T1" fmla="*/ 69 h 100"/>
                <a:gd name="T2" fmla="*/ 106 w 134"/>
                <a:gd name="T3" fmla="*/ 74 h 100"/>
                <a:gd name="T4" fmla="*/ 104 w 134"/>
                <a:gd name="T5" fmla="*/ 73 h 100"/>
                <a:gd name="T6" fmla="*/ 100 w 134"/>
                <a:gd name="T7" fmla="*/ 63 h 100"/>
                <a:gd name="T8" fmla="*/ 79 w 134"/>
                <a:gd name="T9" fmla="*/ 60 h 100"/>
                <a:gd name="T10" fmla="*/ 43 w 134"/>
                <a:gd name="T11" fmla="*/ 88 h 100"/>
                <a:gd name="T12" fmla="*/ 9 w 134"/>
                <a:gd name="T13" fmla="*/ 91 h 100"/>
                <a:gd name="T14" fmla="*/ 0 w 134"/>
                <a:gd name="T15" fmla="*/ 47 h 100"/>
                <a:gd name="T16" fmla="*/ 38 w 134"/>
                <a:gd name="T17" fmla="*/ 12 h 100"/>
                <a:gd name="T18" fmla="*/ 39 w 134"/>
                <a:gd name="T19" fmla="*/ 8 h 100"/>
                <a:gd name="T20" fmla="*/ 53 w 134"/>
                <a:gd name="T21" fmla="*/ 4 h 100"/>
                <a:gd name="T22" fmla="*/ 63 w 134"/>
                <a:gd name="T23" fmla="*/ 0 h 100"/>
                <a:gd name="T24" fmla="*/ 96 w 134"/>
                <a:gd name="T25" fmla="*/ 4 h 100"/>
                <a:gd name="T26" fmla="*/ 113 w 134"/>
                <a:gd name="T27" fmla="*/ 14 h 100"/>
                <a:gd name="T28" fmla="*/ 127 w 134"/>
                <a:gd name="T29" fmla="*/ 36 h 100"/>
                <a:gd name="T30" fmla="*/ 133 w 134"/>
                <a:gd name="T31" fmla="*/ 56 h 100"/>
                <a:gd name="T32" fmla="*/ 125 w 134"/>
                <a:gd name="T33" fmla="*/ 60 h 100"/>
                <a:gd name="T34" fmla="*/ 121 w 134"/>
                <a:gd name="T35" fmla="*/ 71 h 100"/>
                <a:gd name="T36" fmla="*/ 113 w 134"/>
                <a:gd name="T37" fmla="*/ 69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4" h="100">
                  <a:moveTo>
                    <a:pt x="113" y="69"/>
                  </a:moveTo>
                  <a:cubicBezTo>
                    <a:pt x="111" y="72"/>
                    <a:pt x="109" y="74"/>
                    <a:pt x="106" y="74"/>
                  </a:cubicBezTo>
                  <a:cubicBezTo>
                    <a:pt x="105" y="74"/>
                    <a:pt x="104" y="73"/>
                    <a:pt x="104" y="73"/>
                  </a:cubicBezTo>
                  <a:cubicBezTo>
                    <a:pt x="99" y="72"/>
                    <a:pt x="100" y="63"/>
                    <a:pt x="100" y="63"/>
                  </a:cubicBezTo>
                  <a:cubicBezTo>
                    <a:pt x="79" y="60"/>
                    <a:pt x="79" y="60"/>
                    <a:pt x="79" y="60"/>
                  </a:cubicBezTo>
                  <a:cubicBezTo>
                    <a:pt x="79" y="60"/>
                    <a:pt x="52" y="77"/>
                    <a:pt x="43" y="88"/>
                  </a:cubicBezTo>
                  <a:cubicBezTo>
                    <a:pt x="33" y="100"/>
                    <a:pt x="9" y="91"/>
                    <a:pt x="9" y="91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8" y="12"/>
                    <a:pt x="36" y="14"/>
                    <a:pt x="39" y="8"/>
                  </a:cubicBezTo>
                  <a:cubicBezTo>
                    <a:pt x="41" y="2"/>
                    <a:pt x="53" y="4"/>
                    <a:pt x="53" y="4"/>
                  </a:cubicBezTo>
                  <a:cubicBezTo>
                    <a:pt x="55" y="1"/>
                    <a:pt x="63" y="0"/>
                    <a:pt x="63" y="0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103" y="4"/>
                    <a:pt x="109" y="8"/>
                    <a:pt x="113" y="14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7" y="36"/>
                    <a:pt x="134" y="52"/>
                    <a:pt x="133" y="56"/>
                  </a:cubicBezTo>
                  <a:cubicBezTo>
                    <a:pt x="131" y="62"/>
                    <a:pt x="125" y="60"/>
                    <a:pt x="125" y="60"/>
                  </a:cubicBezTo>
                  <a:cubicBezTo>
                    <a:pt x="125" y="60"/>
                    <a:pt x="124" y="71"/>
                    <a:pt x="121" y="71"/>
                  </a:cubicBezTo>
                  <a:cubicBezTo>
                    <a:pt x="118" y="72"/>
                    <a:pt x="113" y="69"/>
                    <a:pt x="113" y="69"/>
                  </a:cubicBez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02">
              <a:extLst>
                <a:ext uri="{FF2B5EF4-FFF2-40B4-BE49-F238E27FC236}">
                  <a16:creationId xmlns:a16="http://schemas.microsoft.com/office/drawing/2014/main" id="{4124F7BB-8384-4E77-A5A5-6DE993FBD9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7" y="2244"/>
              <a:ext cx="153" cy="64"/>
            </a:xfrm>
            <a:custGeom>
              <a:avLst/>
              <a:gdLst>
                <a:gd name="T0" fmla="*/ 0 w 64"/>
                <a:gd name="T1" fmla="*/ 1 h 27"/>
                <a:gd name="T2" fmla="*/ 12 w 64"/>
                <a:gd name="T3" fmla="*/ 1 h 27"/>
                <a:gd name="T4" fmla="*/ 39 w 64"/>
                <a:gd name="T5" fmla="*/ 6 h 27"/>
                <a:gd name="T6" fmla="*/ 53 w 64"/>
                <a:gd name="T7" fmla="*/ 12 h 27"/>
                <a:gd name="T8" fmla="*/ 62 w 64"/>
                <a:gd name="T9" fmla="*/ 19 h 27"/>
                <a:gd name="T10" fmla="*/ 62 w 64"/>
                <a:gd name="T11" fmla="*/ 23 h 27"/>
                <a:gd name="T12" fmla="*/ 59 w 64"/>
                <a:gd name="T13" fmla="*/ 25 h 27"/>
                <a:gd name="T14" fmla="*/ 56 w 64"/>
                <a:gd name="T15" fmla="*/ 26 h 27"/>
                <a:gd name="T16" fmla="*/ 60 w 64"/>
                <a:gd name="T17" fmla="*/ 26 h 27"/>
                <a:gd name="T18" fmla="*/ 63 w 64"/>
                <a:gd name="T19" fmla="*/ 24 h 27"/>
                <a:gd name="T20" fmla="*/ 64 w 64"/>
                <a:gd name="T21" fmla="*/ 19 h 27"/>
                <a:gd name="T22" fmla="*/ 59 w 64"/>
                <a:gd name="T23" fmla="*/ 14 h 27"/>
                <a:gd name="T24" fmla="*/ 54 w 64"/>
                <a:gd name="T25" fmla="*/ 10 h 27"/>
                <a:gd name="T26" fmla="*/ 39 w 64"/>
                <a:gd name="T27" fmla="*/ 4 h 27"/>
                <a:gd name="T28" fmla="*/ 12 w 64"/>
                <a:gd name="T29" fmla="*/ 0 h 27"/>
                <a:gd name="T30" fmla="*/ 0 w 64"/>
                <a:gd name="T31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27">
                  <a:moveTo>
                    <a:pt x="0" y="1"/>
                  </a:moveTo>
                  <a:cubicBezTo>
                    <a:pt x="0" y="1"/>
                    <a:pt x="4" y="1"/>
                    <a:pt x="12" y="1"/>
                  </a:cubicBezTo>
                  <a:cubicBezTo>
                    <a:pt x="19" y="1"/>
                    <a:pt x="28" y="3"/>
                    <a:pt x="39" y="6"/>
                  </a:cubicBezTo>
                  <a:cubicBezTo>
                    <a:pt x="44" y="8"/>
                    <a:pt x="49" y="10"/>
                    <a:pt x="53" y="12"/>
                  </a:cubicBezTo>
                  <a:cubicBezTo>
                    <a:pt x="57" y="14"/>
                    <a:pt x="61" y="16"/>
                    <a:pt x="62" y="19"/>
                  </a:cubicBezTo>
                  <a:cubicBezTo>
                    <a:pt x="63" y="21"/>
                    <a:pt x="63" y="22"/>
                    <a:pt x="62" y="23"/>
                  </a:cubicBezTo>
                  <a:cubicBezTo>
                    <a:pt x="61" y="24"/>
                    <a:pt x="60" y="25"/>
                    <a:pt x="59" y="25"/>
                  </a:cubicBezTo>
                  <a:cubicBezTo>
                    <a:pt x="58" y="26"/>
                    <a:pt x="56" y="26"/>
                    <a:pt x="56" y="26"/>
                  </a:cubicBezTo>
                  <a:cubicBezTo>
                    <a:pt x="56" y="26"/>
                    <a:pt x="57" y="27"/>
                    <a:pt x="60" y="26"/>
                  </a:cubicBezTo>
                  <a:cubicBezTo>
                    <a:pt x="61" y="26"/>
                    <a:pt x="62" y="25"/>
                    <a:pt x="63" y="24"/>
                  </a:cubicBezTo>
                  <a:cubicBezTo>
                    <a:pt x="64" y="23"/>
                    <a:pt x="64" y="21"/>
                    <a:pt x="64" y="19"/>
                  </a:cubicBezTo>
                  <a:cubicBezTo>
                    <a:pt x="63" y="17"/>
                    <a:pt x="61" y="15"/>
                    <a:pt x="59" y="14"/>
                  </a:cubicBezTo>
                  <a:cubicBezTo>
                    <a:pt x="58" y="13"/>
                    <a:pt x="56" y="12"/>
                    <a:pt x="54" y="10"/>
                  </a:cubicBezTo>
                  <a:cubicBezTo>
                    <a:pt x="49" y="8"/>
                    <a:pt x="45" y="6"/>
                    <a:pt x="39" y="4"/>
                  </a:cubicBezTo>
                  <a:cubicBezTo>
                    <a:pt x="29" y="1"/>
                    <a:pt x="19" y="0"/>
                    <a:pt x="12" y="0"/>
                  </a:cubicBezTo>
                  <a:cubicBezTo>
                    <a:pt x="4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103">
              <a:extLst>
                <a:ext uri="{FF2B5EF4-FFF2-40B4-BE49-F238E27FC236}">
                  <a16:creationId xmlns:a16="http://schemas.microsoft.com/office/drawing/2014/main" id="{FB75BE84-B5CF-4D5C-AD3A-E34E34C151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3" y="2294"/>
              <a:ext cx="142" cy="12"/>
            </a:xfrm>
            <a:custGeom>
              <a:avLst/>
              <a:gdLst>
                <a:gd name="T0" fmla="*/ 0 w 60"/>
                <a:gd name="T1" fmla="*/ 1 h 5"/>
                <a:gd name="T2" fmla="*/ 30 w 60"/>
                <a:gd name="T3" fmla="*/ 2 h 5"/>
                <a:gd name="T4" fmla="*/ 60 w 60"/>
                <a:gd name="T5" fmla="*/ 4 h 5"/>
                <a:gd name="T6" fmla="*/ 51 w 60"/>
                <a:gd name="T7" fmla="*/ 2 h 5"/>
                <a:gd name="T8" fmla="*/ 30 w 60"/>
                <a:gd name="T9" fmla="*/ 0 h 5"/>
                <a:gd name="T10" fmla="*/ 8 w 60"/>
                <a:gd name="T11" fmla="*/ 0 h 5"/>
                <a:gd name="T12" fmla="*/ 0 w 60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5">
                  <a:moveTo>
                    <a:pt x="0" y="1"/>
                  </a:moveTo>
                  <a:cubicBezTo>
                    <a:pt x="0" y="2"/>
                    <a:pt x="13" y="1"/>
                    <a:pt x="30" y="2"/>
                  </a:cubicBezTo>
                  <a:cubicBezTo>
                    <a:pt x="46" y="3"/>
                    <a:pt x="60" y="5"/>
                    <a:pt x="60" y="4"/>
                  </a:cubicBezTo>
                  <a:cubicBezTo>
                    <a:pt x="60" y="4"/>
                    <a:pt x="57" y="3"/>
                    <a:pt x="51" y="2"/>
                  </a:cubicBezTo>
                  <a:cubicBezTo>
                    <a:pt x="46" y="1"/>
                    <a:pt x="38" y="0"/>
                    <a:pt x="30" y="0"/>
                  </a:cubicBezTo>
                  <a:cubicBezTo>
                    <a:pt x="22" y="0"/>
                    <a:pt x="14" y="0"/>
                    <a:pt x="8" y="0"/>
                  </a:cubicBezTo>
                  <a:cubicBezTo>
                    <a:pt x="3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104">
              <a:extLst>
                <a:ext uri="{FF2B5EF4-FFF2-40B4-BE49-F238E27FC236}">
                  <a16:creationId xmlns:a16="http://schemas.microsoft.com/office/drawing/2014/main" id="{FC108E42-2DDD-4928-B011-775AA73AF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" y="2199"/>
              <a:ext cx="142" cy="121"/>
            </a:xfrm>
            <a:custGeom>
              <a:avLst/>
              <a:gdLst>
                <a:gd name="T0" fmla="*/ 60 w 60"/>
                <a:gd name="T1" fmla="*/ 51 h 51"/>
                <a:gd name="T2" fmla="*/ 60 w 60"/>
                <a:gd name="T3" fmla="*/ 47 h 51"/>
                <a:gd name="T4" fmla="*/ 60 w 60"/>
                <a:gd name="T5" fmla="*/ 37 h 51"/>
                <a:gd name="T6" fmla="*/ 59 w 60"/>
                <a:gd name="T7" fmla="*/ 31 h 51"/>
                <a:gd name="T8" fmla="*/ 56 w 60"/>
                <a:gd name="T9" fmla="*/ 23 h 51"/>
                <a:gd name="T10" fmla="*/ 43 w 60"/>
                <a:gd name="T11" fmla="*/ 10 h 51"/>
                <a:gd name="T12" fmla="*/ 27 w 60"/>
                <a:gd name="T13" fmla="*/ 2 h 51"/>
                <a:gd name="T14" fmla="*/ 13 w 60"/>
                <a:gd name="T15" fmla="*/ 0 h 51"/>
                <a:gd name="T16" fmla="*/ 3 w 60"/>
                <a:gd name="T17" fmla="*/ 0 h 51"/>
                <a:gd name="T18" fmla="*/ 0 w 60"/>
                <a:gd name="T19" fmla="*/ 1 h 51"/>
                <a:gd name="T20" fmla="*/ 13 w 60"/>
                <a:gd name="T21" fmla="*/ 2 h 51"/>
                <a:gd name="T22" fmla="*/ 27 w 60"/>
                <a:gd name="T23" fmla="*/ 4 h 51"/>
                <a:gd name="T24" fmla="*/ 42 w 60"/>
                <a:gd name="T25" fmla="*/ 12 h 51"/>
                <a:gd name="T26" fmla="*/ 54 w 60"/>
                <a:gd name="T27" fmla="*/ 24 h 51"/>
                <a:gd name="T28" fmla="*/ 59 w 60"/>
                <a:gd name="T29" fmla="*/ 37 h 51"/>
                <a:gd name="T30" fmla="*/ 60 w 60"/>
                <a:gd name="T3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" h="51">
                  <a:moveTo>
                    <a:pt x="60" y="51"/>
                  </a:moveTo>
                  <a:cubicBezTo>
                    <a:pt x="60" y="51"/>
                    <a:pt x="60" y="49"/>
                    <a:pt x="60" y="47"/>
                  </a:cubicBezTo>
                  <a:cubicBezTo>
                    <a:pt x="60" y="45"/>
                    <a:pt x="60" y="41"/>
                    <a:pt x="60" y="37"/>
                  </a:cubicBezTo>
                  <a:cubicBezTo>
                    <a:pt x="60" y="35"/>
                    <a:pt x="60" y="33"/>
                    <a:pt x="59" y="31"/>
                  </a:cubicBezTo>
                  <a:cubicBezTo>
                    <a:pt x="59" y="28"/>
                    <a:pt x="57" y="26"/>
                    <a:pt x="56" y="23"/>
                  </a:cubicBezTo>
                  <a:cubicBezTo>
                    <a:pt x="53" y="19"/>
                    <a:pt x="49" y="14"/>
                    <a:pt x="43" y="10"/>
                  </a:cubicBezTo>
                  <a:cubicBezTo>
                    <a:pt x="38" y="7"/>
                    <a:pt x="33" y="4"/>
                    <a:pt x="27" y="2"/>
                  </a:cubicBezTo>
                  <a:cubicBezTo>
                    <a:pt x="22" y="1"/>
                    <a:pt x="17" y="0"/>
                    <a:pt x="13" y="0"/>
                  </a:cubicBezTo>
                  <a:cubicBezTo>
                    <a:pt x="9" y="0"/>
                    <a:pt x="6" y="0"/>
                    <a:pt x="3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1"/>
                    <a:pt x="5" y="1"/>
                    <a:pt x="13" y="2"/>
                  </a:cubicBezTo>
                  <a:cubicBezTo>
                    <a:pt x="17" y="2"/>
                    <a:pt x="22" y="3"/>
                    <a:pt x="27" y="4"/>
                  </a:cubicBezTo>
                  <a:cubicBezTo>
                    <a:pt x="32" y="6"/>
                    <a:pt x="37" y="9"/>
                    <a:pt x="42" y="12"/>
                  </a:cubicBezTo>
                  <a:cubicBezTo>
                    <a:pt x="47" y="16"/>
                    <a:pt x="51" y="20"/>
                    <a:pt x="54" y="24"/>
                  </a:cubicBezTo>
                  <a:cubicBezTo>
                    <a:pt x="57" y="29"/>
                    <a:pt x="58" y="33"/>
                    <a:pt x="59" y="37"/>
                  </a:cubicBezTo>
                  <a:cubicBezTo>
                    <a:pt x="59" y="45"/>
                    <a:pt x="59" y="51"/>
                    <a:pt x="60" y="51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105">
              <a:extLst>
                <a:ext uri="{FF2B5EF4-FFF2-40B4-BE49-F238E27FC236}">
                  <a16:creationId xmlns:a16="http://schemas.microsoft.com/office/drawing/2014/main" id="{A818EFE5-80B7-4C6D-8E9B-08D950C87E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0" y="2175"/>
              <a:ext cx="145" cy="124"/>
            </a:xfrm>
            <a:custGeom>
              <a:avLst/>
              <a:gdLst>
                <a:gd name="T0" fmla="*/ 0 w 61"/>
                <a:gd name="T1" fmla="*/ 0 h 52"/>
                <a:gd name="T2" fmla="*/ 13 w 61"/>
                <a:gd name="T3" fmla="*/ 2 h 52"/>
                <a:gd name="T4" fmla="*/ 40 w 61"/>
                <a:gd name="T5" fmla="*/ 14 h 52"/>
                <a:gd name="T6" fmla="*/ 57 w 61"/>
                <a:gd name="T7" fmla="*/ 40 h 52"/>
                <a:gd name="T8" fmla="*/ 60 w 61"/>
                <a:gd name="T9" fmla="*/ 52 h 52"/>
                <a:gd name="T10" fmla="*/ 60 w 61"/>
                <a:gd name="T11" fmla="*/ 49 h 52"/>
                <a:gd name="T12" fmla="*/ 59 w 61"/>
                <a:gd name="T13" fmla="*/ 39 h 52"/>
                <a:gd name="T14" fmla="*/ 42 w 61"/>
                <a:gd name="T15" fmla="*/ 13 h 52"/>
                <a:gd name="T16" fmla="*/ 36 w 61"/>
                <a:gd name="T17" fmla="*/ 6 h 52"/>
                <a:gd name="T18" fmla="*/ 28 w 61"/>
                <a:gd name="T19" fmla="*/ 2 h 52"/>
                <a:gd name="T20" fmla="*/ 14 w 61"/>
                <a:gd name="T21" fmla="*/ 0 h 52"/>
                <a:gd name="T22" fmla="*/ 0 w 61"/>
                <a:gd name="T23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52">
                  <a:moveTo>
                    <a:pt x="0" y="0"/>
                  </a:moveTo>
                  <a:cubicBezTo>
                    <a:pt x="0" y="0"/>
                    <a:pt x="5" y="1"/>
                    <a:pt x="13" y="2"/>
                  </a:cubicBezTo>
                  <a:cubicBezTo>
                    <a:pt x="21" y="3"/>
                    <a:pt x="33" y="3"/>
                    <a:pt x="40" y="14"/>
                  </a:cubicBezTo>
                  <a:cubicBezTo>
                    <a:pt x="48" y="23"/>
                    <a:pt x="54" y="32"/>
                    <a:pt x="57" y="40"/>
                  </a:cubicBezTo>
                  <a:cubicBezTo>
                    <a:pt x="60" y="47"/>
                    <a:pt x="60" y="52"/>
                    <a:pt x="60" y="52"/>
                  </a:cubicBezTo>
                  <a:cubicBezTo>
                    <a:pt x="60" y="52"/>
                    <a:pt x="61" y="51"/>
                    <a:pt x="60" y="49"/>
                  </a:cubicBezTo>
                  <a:cubicBezTo>
                    <a:pt x="60" y="47"/>
                    <a:pt x="60" y="43"/>
                    <a:pt x="59" y="39"/>
                  </a:cubicBezTo>
                  <a:cubicBezTo>
                    <a:pt x="56" y="32"/>
                    <a:pt x="50" y="22"/>
                    <a:pt x="42" y="13"/>
                  </a:cubicBezTo>
                  <a:cubicBezTo>
                    <a:pt x="40" y="10"/>
                    <a:pt x="38" y="8"/>
                    <a:pt x="36" y="6"/>
                  </a:cubicBezTo>
                  <a:cubicBezTo>
                    <a:pt x="33" y="4"/>
                    <a:pt x="30" y="3"/>
                    <a:pt x="28" y="2"/>
                  </a:cubicBezTo>
                  <a:cubicBezTo>
                    <a:pt x="22" y="1"/>
                    <a:pt x="18" y="0"/>
                    <a:pt x="14" y="0"/>
                  </a:cubicBezTo>
                  <a:cubicBezTo>
                    <a:pt x="5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106">
              <a:extLst>
                <a:ext uri="{FF2B5EF4-FFF2-40B4-BE49-F238E27FC236}">
                  <a16:creationId xmlns:a16="http://schemas.microsoft.com/office/drawing/2014/main" id="{ADCE9962-53AB-4647-B781-CFA0B274B5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2" y="2154"/>
              <a:ext cx="314" cy="195"/>
            </a:xfrm>
            <a:custGeom>
              <a:avLst/>
              <a:gdLst>
                <a:gd name="T0" fmla="*/ 50 w 132"/>
                <a:gd name="T1" fmla="*/ 81 h 82"/>
                <a:gd name="T2" fmla="*/ 77 w 132"/>
                <a:gd name="T3" fmla="*/ 61 h 82"/>
                <a:gd name="T4" fmla="*/ 98 w 132"/>
                <a:gd name="T5" fmla="*/ 65 h 82"/>
                <a:gd name="T6" fmla="*/ 97 w 132"/>
                <a:gd name="T7" fmla="*/ 69 h 82"/>
                <a:gd name="T8" fmla="*/ 102 w 132"/>
                <a:gd name="T9" fmla="*/ 75 h 82"/>
                <a:gd name="T10" fmla="*/ 110 w 132"/>
                <a:gd name="T11" fmla="*/ 73 h 82"/>
                <a:gd name="T12" fmla="*/ 111 w 132"/>
                <a:gd name="T13" fmla="*/ 71 h 82"/>
                <a:gd name="T14" fmla="*/ 112 w 132"/>
                <a:gd name="T15" fmla="*/ 71 h 82"/>
                <a:gd name="T16" fmla="*/ 110 w 132"/>
                <a:gd name="T17" fmla="*/ 71 h 82"/>
                <a:gd name="T18" fmla="*/ 110 w 132"/>
                <a:gd name="T19" fmla="*/ 71 h 82"/>
                <a:gd name="T20" fmla="*/ 114 w 132"/>
                <a:gd name="T21" fmla="*/ 73 h 82"/>
                <a:gd name="T22" fmla="*/ 118 w 132"/>
                <a:gd name="T23" fmla="*/ 73 h 82"/>
                <a:gd name="T24" fmla="*/ 122 w 132"/>
                <a:gd name="T25" fmla="*/ 70 h 82"/>
                <a:gd name="T26" fmla="*/ 124 w 132"/>
                <a:gd name="T27" fmla="*/ 62 h 82"/>
                <a:gd name="T28" fmla="*/ 131 w 132"/>
                <a:gd name="T29" fmla="*/ 60 h 82"/>
                <a:gd name="T30" fmla="*/ 132 w 132"/>
                <a:gd name="T31" fmla="*/ 52 h 82"/>
                <a:gd name="T32" fmla="*/ 126 w 132"/>
                <a:gd name="T33" fmla="*/ 37 h 82"/>
                <a:gd name="T34" fmla="*/ 118 w 132"/>
                <a:gd name="T35" fmla="*/ 25 h 82"/>
                <a:gd name="T36" fmla="*/ 108 w 132"/>
                <a:gd name="T37" fmla="*/ 10 h 82"/>
                <a:gd name="T38" fmla="*/ 92 w 132"/>
                <a:gd name="T39" fmla="*/ 3 h 82"/>
                <a:gd name="T40" fmla="*/ 61 w 132"/>
                <a:gd name="T41" fmla="*/ 0 h 82"/>
                <a:gd name="T42" fmla="*/ 55 w 132"/>
                <a:gd name="T43" fmla="*/ 1 h 82"/>
                <a:gd name="T44" fmla="*/ 52 w 132"/>
                <a:gd name="T45" fmla="*/ 4 h 82"/>
                <a:gd name="T46" fmla="*/ 36 w 132"/>
                <a:gd name="T47" fmla="*/ 13 h 82"/>
                <a:gd name="T48" fmla="*/ 10 w 132"/>
                <a:gd name="T49" fmla="*/ 36 h 82"/>
                <a:gd name="T50" fmla="*/ 0 w 132"/>
                <a:gd name="T51" fmla="*/ 45 h 82"/>
                <a:gd name="T52" fmla="*/ 10 w 132"/>
                <a:gd name="T53" fmla="*/ 37 h 82"/>
                <a:gd name="T54" fmla="*/ 37 w 132"/>
                <a:gd name="T55" fmla="*/ 14 h 82"/>
                <a:gd name="T56" fmla="*/ 42 w 132"/>
                <a:gd name="T57" fmla="*/ 6 h 82"/>
                <a:gd name="T58" fmla="*/ 52 w 132"/>
                <a:gd name="T59" fmla="*/ 6 h 82"/>
                <a:gd name="T60" fmla="*/ 56 w 132"/>
                <a:gd name="T61" fmla="*/ 3 h 82"/>
                <a:gd name="T62" fmla="*/ 61 w 132"/>
                <a:gd name="T63" fmla="*/ 2 h 82"/>
                <a:gd name="T64" fmla="*/ 100 w 132"/>
                <a:gd name="T65" fmla="*/ 7 h 82"/>
                <a:gd name="T66" fmla="*/ 112 w 132"/>
                <a:gd name="T67" fmla="*/ 18 h 82"/>
                <a:gd name="T68" fmla="*/ 124 w 132"/>
                <a:gd name="T69" fmla="*/ 38 h 82"/>
                <a:gd name="T70" fmla="*/ 130 w 132"/>
                <a:gd name="T71" fmla="*/ 52 h 82"/>
                <a:gd name="T72" fmla="*/ 129 w 132"/>
                <a:gd name="T73" fmla="*/ 59 h 82"/>
                <a:gd name="T74" fmla="*/ 123 w 132"/>
                <a:gd name="T75" fmla="*/ 60 h 82"/>
                <a:gd name="T76" fmla="*/ 121 w 132"/>
                <a:gd name="T77" fmla="*/ 67 h 82"/>
                <a:gd name="T78" fmla="*/ 118 w 132"/>
                <a:gd name="T79" fmla="*/ 71 h 82"/>
                <a:gd name="T80" fmla="*/ 114 w 132"/>
                <a:gd name="T81" fmla="*/ 71 h 82"/>
                <a:gd name="T82" fmla="*/ 111 w 132"/>
                <a:gd name="T83" fmla="*/ 70 h 82"/>
                <a:gd name="T84" fmla="*/ 111 w 132"/>
                <a:gd name="T85" fmla="*/ 70 h 82"/>
                <a:gd name="T86" fmla="*/ 110 w 132"/>
                <a:gd name="T87" fmla="*/ 70 h 82"/>
                <a:gd name="T88" fmla="*/ 110 w 132"/>
                <a:gd name="T89" fmla="*/ 70 h 82"/>
                <a:gd name="T90" fmla="*/ 109 w 132"/>
                <a:gd name="T91" fmla="*/ 71 h 82"/>
                <a:gd name="T92" fmla="*/ 103 w 132"/>
                <a:gd name="T93" fmla="*/ 74 h 82"/>
                <a:gd name="T94" fmla="*/ 99 w 132"/>
                <a:gd name="T95" fmla="*/ 64 h 82"/>
                <a:gd name="T96" fmla="*/ 98 w 132"/>
                <a:gd name="T97" fmla="*/ 63 h 82"/>
                <a:gd name="T98" fmla="*/ 77 w 132"/>
                <a:gd name="T99" fmla="*/ 60 h 82"/>
                <a:gd name="T100" fmla="*/ 55 w 132"/>
                <a:gd name="T101" fmla="*/ 76 h 82"/>
                <a:gd name="T102" fmla="*/ 48 w 132"/>
                <a:gd name="T103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2" h="82">
                  <a:moveTo>
                    <a:pt x="48" y="82"/>
                  </a:moveTo>
                  <a:cubicBezTo>
                    <a:pt x="48" y="82"/>
                    <a:pt x="49" y="82"/>
                    <a:pt x="50" y="81"/>
                  </a:cubicBezTo>
                  <a:cubicBezTo>
                    <a:pt x="51" y="80"/>
                    <a:pt x="53" y="78"/>
                    <a:pt x="56" y="76"/>
                  </a:cubicBezTo>
                  <a:cubicBezTo>
                    <a:pt x="61" y="73"/>
                    <a:pt x="68" y="67"/>
                    <a:pt x="77" y="61"/>
                  </a:cubicBezTo>
                  <a:cubicBezTo>
                    <a:pt x="77" y="61"/>
                    <a:pt x="77" y="61"/>
                    <a:pt x="77" y="61"/>
                  </a:cubicBezTo>
                  <a:cubicBezTo>
                    <a:pt x="83" y="62"/>
                    <a:pt x="90" y="64"/>
                    <a:pt x="98" y="65"/>
                  </a:cubicBezTo>
                  <a:cubicBezTo>
                    <a:pt x="97" y="64"/>
                    <a:pt x="97" y="64"/>
                    <a:pt x="97" y="64"/>
                  </a:cubicBezTo>
                  <a:cubicBezTo>
                    <a:pt x="97" y="66"/>
                    <a:pt x="97" y="67"/>
                    <a:pt x="97" y="69"/>
                  </a:cubicBezTo>
                  <a:cubicBezTo>
                    <a:pt x="98" y="71"/>
                    <a:pt x="98" y="73"/>
                    <a:pt x="100" y="74"/>
                  </a:cubicBezTo>
                  <a:cubicBezTo>
                    <a:pt x="100" y="75"/>
                    <a:pt x="101" y="75"/>
                    <a:pt x="102" y="75"/>
                  </a:cubicBezTo>
                  <a:cubicBezTo>
                    <a:pt x="103" y="76"/>
                    <a:pt x="104" y="76"/>
                    <a:pt x="105" y="75"/>
                  </a:cubicBezTo>
                  <a:cubicBezTo>
                    <a:pt x="107" y="75"/>
                    <a:pt x="109" y="74"/>
                    <a:pt x="110" y="73"/>
                  </a:cubicBezTo>
                  <a:cubicBezTo>
                    <a:pt x="111" y="72"/>
                    <a:pt x="111" y="72"/>
                    <a:pt x="111" y="71"/>
                  </a:cubicBezTo>
                  <a:cubicBezTo>
                    <a:pt x="111" y="71"/>
                    <a:pt x="111" y="71"/>
                    <a:pt x="111" y="71"/>
                  </a:cubicBezTo>
                  <a:cubicBezTo>
                    <a:pt x="112" y="71"/>
                    <a:pt x="112" y="71"/>
                    <a:pt x="112" y="71"/>
                  </a:cubicBezTo>
                  <a:cubicBezTo>
                    <a:pt x="112" y="71"/>
                    <a:pt x="112" y="71"/>
                    <a:pt x="112" y="71"/>
                  </a:cubicBezTo>
                  <a:cubicBezTo>
                    <a:pt x="112" y="71"/>
                    <a:pt x="112" y="71"/>
                    <a:pt x="112" y="71"/>
                  </a:cubicBezTo>
                  <a:cubicBezTo>
                    <a:pt x="112" y="71"/>
                    <a:pt x="109" y="72"/>
                    <a:pt x="110" y="71"/>
                  </a:cubicBezTo>
                  <a:cubicBezTo>
                    <a:pt x="110" y="71"/>
                    <a:pt x="110" y="71"/>
                    <a:pt x="110" y="71"/>
                  </a:cubicBezTo>
                  <a:cubicBezTo>
                    <a:pt x="110" y="71"/>
                    <a:pt x="110" y="71"/>
                    <a:pt x="110" y="71"/>
                  </a:cubicBezTo>
                  <a:cubicBezTo>
                    <a:pt x="111" y="72"/>
                    <a:pt x="111" y="72"/>
                    <a:pt x="111" y="72"/>
                  </a:cubicBezTo>
                  <a:cubicBezTo>
                    <a:pt x="112" y="72"/>
                    <a:pt x="113" y="72"/>
                    <a:pt x="114" y="73"/>
                  </a:cubicBezTo>
                  <a:cubicBezTo>
                    <a:pt x="115" y="73"/>
                    <a:pt x="116" y="73"/>
                    <a:pt x="117" y="73"/>
                  </a:cubicBezTo>
                  <a:cubicBezTo>
                    <a:pt x="117" y="73"/>
                    <a:pt x="118" y="73"/>
                    <a:pt x="118" y="73"/>
                  </a:cubicBezTo>
                  <a:cubicBezTo>
                    <a:pt x="119" y="73"/>
                    <a:pt x="119" y="73"/>
                    <a:pt x="120" y="73"/>
                  </a:cubicBezTo>
                  <a:cubicBezTo>
                    <a:pt x="121" y="72"/>
                    <a:pt x="122" y="71"/>
                    <a:pt x="122" y="70"/>
                  </a:cubicBezTo>
                  <a:cubicBezTo>
                    <a:pt x="122" y="69"/>
                    <a:pt x="123" y="68"/>
                    <a:pt x="123" y="67"/>
                  </a:cubicBezTo>
                  <a:cubicBezTo>
                    <a:pt x="124" y="66"/>
                    <a:pt x="124" y="64"/>
                    <a:pt x="124" y="62"/>
                  </a:cubicBezTo>
                  <a:cubicBezTo>
                    <a:pt x="123" y="62"/>
                    <a:pt x="123" y="62"/>
                    <a:pt x="123" y="62"/>
                  </a:cubicBezTo>
                  <a:cubicBezTo>
                    <a:pt x="126" y="63"/>
                    <a:pt x="129" y="62"/>
                    <a:pt x="131" y="60"/>
                  </a:cubicBezTo>
                  <a:cubicBezTo>
                    <a:pt x="132" y="59"/>
                    <a:pt x="132" y="57"/>
                    <a:pt x="132" y="56"/>
                  </a:cubicBezTo>
                  <a:cubicBezTo>
                    <a:pt x="132" y="54"/>
                    <a:pt x="132" y="53"/>
                    <a:pt x="132" y="52"/>
                  </a:cubicBezTo>
                  <a:cubicBezTo>
                    <a:pt x="130" y="47"/>
                    <a:pt x="128" y="42"/>
                    <a:pt x="126" y="37"/>
                  </a:cubicBezTo>
                  <a:cubicBezTo>
                    <a:pt x="126" y="37"/>
                    <a:pt x="126" y="37"/>
                    <a:pt x="126" y="37"/>
                  </a:cubicBezTo>
                  <a:cubicBezTo>
                    <a:pt x="126" y="37"/>
                    <a:pt x="126" y="37"/>
                    <a:pt x="126" y="37"/>
                  </a:cubicBezTo>
                  <a:cubicBezTo>
                    <a:pt x="123" y="33"/>
                    <a:pt x="121" y="29"/>
                    <a:pt x="118" y="25"/>
                  </a:cubicBezTo>
                  <a:cubicBezTo>
                    <a:pt x="117" y="22"/>
                    <a:pt x="115" y="20"/>
                    <a:pt x="114" y="17"/>
                  </a:cubicBezTo>
                  <a:cubicBezTo>
                    <a:pt x="112" y="15"/>
                    <a:pt x="111" y="12"/>
                    <a:pt x="108" y="10"/>
                  </a:cubicBezTo>
                  <a:cubicBezTo>
                    <a:pt x="106" y="8"/>
                    <a:pt x="104" y="6"/>
                    <a:pt x="101" y="5"/>
                  </a:cubicBezTo>
                  <a:cubicBezTo>
                    <a:pt x="98" y="4"/>
                    <a:pt x="95" y="4"/>
                    <a:pt x="92" y="3"/>
                  </a:cubicBezTo>
                  <a:cubicBezTo>
                    <a:pt x="81" y="2"/>
                    <a:pt x="71" y="1"/>
                    <a:pt x="61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59" y="0"/>
                    <a:pt x="57" y="1"/>
                    <a:pt x="55" y="1"/>
                  </a:cubicBezTo>
                  <a:cubicBezTo>
                    <a:pt x="54" y="2"/>
                    <a:pt x="52" y="3"/>
                    <a:pt x="50" y="5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48" y="3"/>
                    <a:pt x="44" y="3"/>
                    <a:pt x="41" y="5"/>
                  </a:cubicBezTo>
                  <a:cubicBezTo>
                    <a:pt x="38" y="7"/>
                    <a:pt x="36" y="10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25" y="23"/>
                    <a:pt x="16" y="31"/>
                    <a:pt x="10" y="36"/>
                  </a:cubicBezTo>
                  <a:cubicBezTo>
                    <a:pt x="7" y="39"/>
                    <a:pt x="4" y="41"/>
                    <a:pt x="3" y="43"/>
                  </a:cubicBezTo>
                  <a:cubicBezTo>
                    <a:pt x="1" y="44"/>
                    <a:pt x="0" y="45"/>
                    <a:pt x="0" y="45"/>
                  </a:cubicBezTo>
                  <a:cubicBezTo>
                    <a:pt x="0" y="45"/>
                    <a:pt x="1" y="45"/>
                    <a:pt x="3" y="43"/>
                  </a:cubicBezTo>
                  <a:cubicBezTo>
                    <a:pt x="5" y="42"/>
                    <a:pt x="7" y="40"/>
                    <a:pt x="10" y="37"/>
                  </a:cubicBezTo>
                  <a:cubicBezTo>
                    <a:pt x="17" y="31"/>
                    <a:pt x="26" y="2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8" y="11"/>
                    <a:pt x="39" y="8"/>
                    <a:pt x="42" y="6"/>
                  </a:cubicBezTo>
                  <a:cubicBezTo>
                    <a:pt x="44" y="5"/>
                    <a:pt x="48" y="5"/>
                    <a:pt x="51" y="6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3" y="4"/>
                    <a:pt x="54" y="4"/>
                    <a:pt x="56" y="3"/>
                  </a:cubicBezTo>
                  <a:cubicBezTo>
                    <a:pt x="58" y="2"/>
                    <a:pt x="59" y="2"/>
                    <a:pt x="61" y="2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71" y="3"/>
                    <a:pt x="81" y="4"/>
                    <a:pt x="92" y="5"/>
                  </a:cubicBezTo>
                  <a:cubicBezTo>
                    <a:pt x="95" y="6"/>
                    <a:pt x="98" y="6"/>
                    <a:pt x="100" y="7"/>
                  </a:cubicBezTo>
                  <a:cubicBezTo>
                    <a:pt x="103" y="8"/>
                    <a:pt x="105" y="10"/>
                    <a:pt x="107" y="12"/>
                  </a:cubicBezTo>
                  <a:cubicBezTo>
                    <a:pt x="109" y="13"/>
                    <a:pt x="110" y="16"/>
                    <a:pt x="112" y="18"/>
                  </a:cubicBezTo>
                  <a:cubicBezTo>
                    <a:pt x="113" y="21"/>
                    <a:pt x="115" y="23"/>
                    <a:pt x="117" y="26"/>
                  </a:cubicBezTo>
                  <a:cubicBezTo>
                    <a:pt x="119" y="30"/>
                    <a:pt x="122" y="34"/>
                    <a:pt x="124" y="3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6" y="43"/>
                    <a:pt x="128" y="47"/>
                    <a:pt x="130" y="52"/>
                  </a:cubicBezTo>
                  <a:cubicBezTo>
                    <a:pt x="130" y="53"/>
                    <a:pt x="130" y="55"/>
                    <a:pt x="130" y="56"/>
                  </a:cubicBezTo>
                  <a:cubicBezTo>
                    <a:pt x="130" y="57"/>
                    <a:pt x="130" y="58"/>
                    <a:pt x="129" y="59"/>
                  </a:cubicBezTo>
                  <a:cubicBezTo>
                    <a:pt x="128" y="60"/>
                    <a:pt x="126" y="61"/>
                    <a:pt x="124" y="60"/>
                  </a:cubicBezTo>
                  <a:cubicBezTo>
                    <a:pt x="123" y="60"/>
                    <a:pt x="123" y="60"/>
                    <a:pt x="123" y="60"/>
                  </a:cubicBezTo>
                  <a:cubicBezTo>
                    <a:pt x="122" y="61"/>
                    <a:pt x="122" y="61"/>
                    <a:pt x="122" y="61"/>
                  </a:cubicBezTo>
                  <a:cubicBezTo>
                    <a:pt x="122" y="63"/>
                    <a:pt x="122" y="65"/>
                    <a:pt x="121" y="67"/>
                  </a:cubicBezTo>
                  <a:cubicBezTo>
                    <a:pt x="121" y="69"/>
                    <a:pt x="120" y="71"/>
                    <a:pt x="119" y="71"/>
                  </a:cubicBezTo>
                  <a:cubicBezTo>
                    <a:pt x="119" y="71"/>
                    <a:pt x="119" y="71"/>
                    <a:pt x="118" y="71"/>
                  </a:cubicBezTo>
                  <a:cubicBezTo>
                    <a:pt x="118" y="71"/>
                    <a:pt x="117" y="71"/>
                    <a:pt x="117" y="71"/>
                  </a:cubicBezTo>
                  <a:cubicBezTo>
                    <a:pt x="116" y="71"/>
                    <a:pt x="115" y="71"/>
                    <a:pt x="114" y="71"/>
                  </a:cubicBezTo>
                  <a:cubicBezTo>
                    <a:pt x="113" y="70"/>
                    <a:pt x="113" y="70"/>
                    <a:pt x="112" y="70"/>
                  </a:cubicBezTo>
                  <a:cubicBezTo>
                    <a:pt x="111" y="70"/>
                    <a:pt x="111" y="70"/>
                    <a:pt x="111" y="70"/>
                  </a:cubicBezTo>
                  <a:cubicBezTo>
                    <a:pt x="111" y="70"/>
                    <a:pt x="111" y="70"/>
                    <a:pt x="111" y="70"/>
                  </a:cubicBezTo>
                  <a:cubicBezTo>
                    <a:pt x="111" y="70"/>
                    <a:pt x="111" y="70"/>
                    <a:pt x="111" y="70"/>
                  </a:cubicBezTo>
                  <a:cubicBezTo>
                    <a:pt x="112" y="69"/>
                    <a:pt x="110" y="70"/>
                    <a:pt x="110" y="70"/>
                  </a:cubicBezTo>
                  <a:cubicBezTo>
                    <a:pt x="110" y="70"/>
                    <a:pt x="110" y="70"/>
                    <a:pt x="110" y="70"/>
                  </a:cubicBezTo>
                  <a:cubicBezTo>
                    <a:pt x="110" y="70"/>
                    <a:pt x="110" y="70"/>
                    <a:pt x="110" y="70"/>
                  </a:cubicBezTo>
                  <a:cubicBezTo>
                    <a:pt x="110" y="70"/>
                    <a:pt x="110" y="70"/>
                    <a:pt x="110" y="70"/>
                  </a:cubicBezTo>
                  <a:cubicBezTo>
                    <a:pt x="110" y="70"/>
                    <a:pt x="110" y="70"/>
                    <a:pt x="110" y="70"/>
                  </a:cubicBezTo>
                  <a:cubicBezTo>
                    <a:pt x="109" y="71"/>
                    <a:pt x="109" y="71"/>
                    <a:pt x="109" y="71"/>
                  </a:cubicBezTo>
                  <a:cubicBezTo>
                    <a:pt x="108" y="73"/>
                    <a:pt x="106" y="73"/>
                    <a:pt x="105" y="74"/>
                  </a:cubicBezTo>
                  <a:cubicBezTo>
                    <a:pt x="104" y="74"/>
                    <a:pt x="103" y="74"/>
                    <a:pt x="103" y="74"/>
                  </a:cubicBezTo>
                  <a:cubicBezTo>
                    <a:pt x="102" y="73"/>
                    <a:pt x="101" y="73"/>
                    <a:pt x="101" y="73"/>
                  </a:cubicBezTo>
                  <a:cubicBezTo>
                    <a:pt x="99" y="71"/>
                    <a:pt x="99" y="67"/>
                    <a:pt x="99" y="64"/>
                  </a:cubicBezTo>
                  <a:cubicBezTo>
                    <a:pt x="99" y="63"/>
                    <a:pt x="99" y="63"/>
                    <a:pt x="99" y="63"/>
                  </a:cubicBezTo>
                  <a:cubicBezTo>
                    <a:pt x="98" y="63"/>
                    <a:pt x="98" y="63"/>
                    <a:pt x="98" y="63"/>
                  </a:cubicBezTo>
                  <a:cubicBezTo>
                    <a:pt x="90" y="62"/>
                    <a:pt x="83" y="61"/>
                    <a:pt x="77" y="60"/>
                  </a:cubicBezTo>
                  <a:cubicBezTo>
                    <a:pt x="77" y="60"/>
                    <a:pt x="77" y="60"/>
                    <a:pt x="77" y="60"/>
                  </a:cubicBezTo>
                  <a:cubicBezTo>
                    <a:pt x="77" y="60"/>
                    <a:pt x="77" y="60"/>
                    <a:pt x="77" y="60"/>
                  </a:cubicBezTo>
                  <a:cubicBezTo>
                    <a:pt x="67" y="66"/>
                    <a:pt x="60" y="72"/>
                    <a:pt x="55" y="76"/>
                  </a:cubicBezTo>
                  <a:cubicBezTo>
                    <a:pt x="53" y="78"/>
                    <a:pt x="51" y="79"/>
                    <a:pt x="50" y="81"/>
                  </a:cubicBezTo>
                  <a:cubicBezTo>
                    <a:pt x="49" y="82"/>
                    <a:pt x="48" y="82"/>
                    <a:pt x="48" y="82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107">
              <a:extLst>
                <a:ext uri="{FF2B5EF4-FFF2-40B4-BE49-F238E27FC236}">
                  <a16:creationId xmlns:a16="http://schemas.microsoft.com/office/drawing/2014/main" id="{3C7D1939-B04D-4C22-A6AE-F2A0B9B123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2" y="2019"/>
              <a:ext cx="1093" cy="513"/>
            </a:xfrm>
            <a:custGeom>
              <a:avLst/>
              <a:gdLst>
                <a:gd name="T0" fmla="*/ 442 w 460"/>
                <a:gd name="T1" fmla="*/ 0 h 216"/>
                <a:gd name="T2" fmla="*/ 186 w 460"/>
                <a:gd name="T3" fmla="*/ 2 h 216"/>
                <a:gd name="T4" fmla="*/ 168 w 460"/>
                <a:gd name="T5" fmla="*/ 14 h 216"/>
                <a:gd name="T6" fmla="*/ 140 w 460"/>
                <a:gd name="T7" fmla="*/ 201 h 216"/>
                <a:gd name="T8" fmla="*/ 8 w 460"/>
                <a:gd name="T9" fmla="*/ 201 h 216"/>
                <a:gd name="T10" fmla="*/ 0 w 460"/>
                <a:gd name="T11" fmla="*/ 208 h 216"/>
                <a:gd name="T12" fmla="*/ 8 w 460"/>
                <a:gd name="T13" fmla="*/ 216 h 216"/>
                <a:gd name="T14" fmla="*/ 138 w 460"/>
                <a:gd name="T15" fmla="*/ 216 h 216"/>
                <a:gd name="T16" fmla="*/ 162 w 460"/>
                <a:gd name="T17" fmla="*/ 216 h 216"/>
                <a:gd name="T18" fmla="*/ 430 w 460"/>
                <a:gd name="T19" fmla="*/ 216 h 216"/>
                <a:gd name="T20" fmla="*/ 458 w 460"/>
                <a:gd name="T21" fmla="*/ 19 h 216"/>
                <a:gd name="T22" fmla="*/ 442 w 460"/>
                <a:gd name="T23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0" h="216">
                  <a:moveTo>
                    <a:pt x="442" y="0"/>
                  </a:moveTo>
                  <a:cubicBezTo>
                    <a:pt x="186" y="2"/>
                    <a:pt x="186" y="2"/>
                    <a:pt x="186" y="2"/>
                  </a:cubicBezTo>
                  <a:cubicBezTo>
                    <a:pt x="177" y="2"/>
                    <a:pt x="169" y="6"/>
                    <a:pt x="168" y="14"/>
                  </a:cubicBezTo>
                  <a:cubicBezTo>
                    <a:pt x="140" y="201"/>
                    <a:pt x="140" y="201"/>
                    <a:pt x="140" y="201"/>
                  </a:cubicBezTo>
                  <a:cubicBezTo>
                    <a:pt x="8" y="201"/>
                    <a:pt x="8" y="201"/>
                    <a:pt x="8" y="201"/>
                  </a:cubicBezTo>
                  <a:cubicBezTo>
                    <a:pt x="4" y="201"/>
                    <a:pt x="0" y="204"/>
                    <a:pt x="0" y="208"/>
                  </a:cubicBezTo>
                  <a:cubicBezTo>
                    <a:pt x="0" y="213"/>
                    <a:pt x="4" y="216"/>
                    <a:pt x="8" y="216"/>
                  </a:cubicBezTo>
                  <a:cubicBezTo>
                    <a:pt x="138" y="216"/>
                    <a:pt x="138" y="216"/>
                    <a:pt x="138" y="216"/>
                  </a:cubicBezTo>
                  <a:cubicBezTo>
                    <a:pt x="162" y="216"/>
                    <a:pt x="162" y="216"/>
                    <a:pt x="162" y="216"/>
                  </a:cubicBezTo>
                  <a:cubicBezTo>
                    <a:pt x="430" y="216"/>
                    <a:pt x="430" y="216"/>
                    <a:pt x="430" y="216"/>
                  </a:cubicBezTo>
                  <a:cubicBezTo>
                    <a:pt x="458" y="19"/>
                    <a:pt x="458" y="19"/>
                    <a:pt x="458" y="19"/>
                  </a:cubicBezTo>
                  <a:cubicBezTo>
                    <a:pt x="460" y="9"/>
                    <a:pt x="452" y="0"/>
                    <a:pt x="442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08">
              <a:extLst>
                <a:ext uri="{FF2B5EF4-FFF2-40B4-BE49-F238E27FC236}">
                  <a16:creationId xmlns:a16="http://schemas.microsoft.com/office/drawing/2014/main" id="{9241C4E7-FCD0-4336-9A13-63FD53147D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7" y="2016"/>
              <a:ext cx="1096" cy="518"/>
            </a:xfrm>
            <a:custGeom>
              <a:avLst/>
              <a:gdLst>
                <a:gd name="T0" fmla="*/ 444 w 461"/>
                <a:gd name="T1" fmla="*/ 1 h 218"/>
                <a:gd name="T2" fmla="*/ 448 w 461"/>
                <a:gd name="T3" fmla="*/ 1 h 218"/>
                <a:gd name="T4" fmla="*/ 458 w 461"/>
                <a:gd name="T5" fmla="*/ 7 h 218"/>
                <a:gd name="T6" fmla="*/ 461 w 461"/>
                <a:gd name="T7" fmla="*/ 16 h 218"/>
                <a:gd name="T8" fmla="*/ 460 w 461"/>
                <a:gd name="T9" fmla="*/ 26 h 218"/>
                <a:gd name="T10" fmla="*/ 456 w 461"/>
                <a:gd name="T11" fmla="*/ 52 h 218"/>
                <a:gd name="T12" fmla="*/ 432 w 461"/>
                <a:gd name="T13" fmla="*/ 217 h 218"/>
                <a:gd name="T14" fmla="*/ 432 w 461"/>
                <a:gd name="T15" fmla="*/ 218 h 218"/>
                <a:gd name="T16" fmla="*/ 432 w 461"/>
                <a:gd name="T17" fmla="*/ 218 h 218"/>
                <a:gd name="T18" fmla="*/ 23 w 461"/>
                <a:gd name="T19" fmla="*/ 218 h 218"/>
                <a:gd name="T20" fmla="*/ 12 w 461"/>
                <a:gd name="T21" fmla="*/ 218 h 218"/>
                <a:gd name="T22" fmla="*/ 6 w 461"/>
                <a:gd name="T23" fmla="*/ 217 h 218"/>
                <a:gd name="T24" fmla="*/ 2 w 461"/>
                <a:gd name="T25" fmla="*/ 212 h 218"/>
                <a:gd name="T26" fmla="*/ 6 w 461"/>
                <a:gd name="T27" fmla="*/ 202 h 218"/>
                <a:gd name="T28" fmla="*/ 12 w 461"/>
                <a:gd name="T29" fmla="*/ 201 h 218"/>
                <a:gd name="T30" fmla="*/ 17 w 461"/>
                <a:gd name="T31" fmla="*/ 201 h 218"/>
                <a:gd name="T32" fmla="*/ 60 w 461"/>
                <a:gd name="T33" fmla="*/ 201 h 218"/>
                <a:gd name="T34" fmla="*/ 142 w 461"/>
                <a:gd name="T35" fmla="*/ 201 h 218"/>
                <a:gd name="T36" fmla="*/ 141 w 461"/>
                <a:gd name="T37" fmla="*/ 201 h 218"/>
                <a:gd name="T38" fmla="*/ 169 w 461"/>
                <a:gd name="T39" fmla="*/ 16 h 218"/>
                <a:gd name="T40" fmla="*/ 174 w 461"/>
                <a:gd name="T41" fmla="*/ 6 h 218"/>
                <a:gd name="T42" fmla="*/ 184 w 461"/>
                <a:gd name="T43" fmla="*/ 2 h 218"/>
                <a:gd name="T44" fmla="*/ 194 w 461"/>
                <a:gd name="T45" fmla="*/ 2 h 218"/>
                <a:gd name="T46" fmla="*/ 204 w 461"/>
                <a:gd name="T47" fmla="*/ 2 h 218"/>
                <a:gd name="T48" fmla="*/ 243 w 461"/>
                <a:gd name="T49" fmla="*/ 1 h 218"/>
                <a:gd name="T50" fmla="*/ 311 w 461"/>
                <a:gd name="T51" fmla="*/ 1 h 218"/>
                <a:gd name="T52" fmla="*/ 409 w 461"/>
                <a:gd name="T53" fmla="*/ 1 h 218"/>
                <a:gd name="T54" fmla="*/ 435 w 461"/>
                <a:gd name="T55" fmla="*/ 0 h 218"/>
                <a:gd name="T56" fmla="*/ 442 w 461"/>
                <a:gd name="T57" fmla="*/ 1 h 218"/>
                <a:gd name="T58" fmla="*/ 444 w 461"/>
                <a:gd name="T59" fmla="*/ 1 h 218"/>
                <a:gd name="T60" fmla="*/ 442 w 461"/>
                <a:gd name="T61" fmla="*/ 1 h 218"/>
                <a:gd name="T62" fmla="*/ 435 w 461"/>
                <a:gd name="T63" fmla="*/ 1 h 218"/>
                <a:gd name="T64" fmla="*/ 409 w 461"/>
                <a:gd name="T65" fmla="*/ 1 h 218"/>
                <a:gd name="T66" fmla="*/ 311 w 461"/>
                <a:gd name="T67" fmla="*/ 2 h 218"/>
                <a:gd name="T68" fmla="*/ 243 w 461"/>
                <a:gd name="T69" fmla="*/ 3 h 218"/>
                <a:gd name="T70" fmla="*/ 204 w 461"/>
                <a:gd name="T71" fmla="*/ 3 h 218"/>
                <a:gd name="T72" fmla="*/ 194 w 461"/>
                <a:gd name="T73" fmla="*/ 3 h 218"/>
                <a:gd name="T74" fmla="*/ 184 w 461"/>
                <a:gd name="T75" fmla="*/ 4 h 218"/>
                <a:gd name="T76" fmla="*/ 175 w 461"/>
                <a:gd name="T77" fmla="*/ 8 h 218"/>
                <a:gd name="T78" fmla="*/ 171 w 461"/>
                <a:gd name="T79" fmla="*/ 16 h 218"/>
                <a:gd name="T80" fmla="*/ 143 w 461"/>
                <a:gd name="T81" fmla="*/ 202 h 218"/>
                <a:gd name="T82" fmla="*/ 143 w 461"/>
                <a:gd name="T83" fmla="*/ 203 h 218"/>
                <a:gd name="T84" fmla="*/ 142 w 461"/>
                <a:gd name="T85" fmla="*/ 203 h 218"/>
                <a:gd name="T86" fmla="*/ 60 w 461"/>
                <a:gd name="T87" fmla="*/ 203 h 218"/>
                <a:gd name="T88" fmla="*/ 17 w 461"/>
                <a:gd name="T89" fmla="*/ 203 h 218"/>
                <a:gd name="T90" fmla="*/ 12 w 461"/>
                <a:gd name="T91" fmla="*/ 203 h 218"/>
                <a:gd name="T92" fmla="*/ 7 w 461"/>
                <a:gd name="T93" fmla="*/ 203 h 218"/>
                <a:gd name="T94" fmla="*/ 4 w 461"/>
                <a:gd name="T95" fmla="*/ 212 h 218"/>
                <a:gd name="T96" fmla="*/ 7 w 461"/>
                <a:gd name="T97" fmla="*/ 215 h 218"/>
                <a:gd name="T98" fmla="*/ 12 w 461"/>
                <a:gd name="T99" fmla="*/ 216 h 218"/>
                <a:gd name="T100" fmla="*/ 23 w 461"/>
                <a:gd name="T101" fmla="*/ 216 h 218"/>
                <a:gd name="T102" fmla="*/ 432 w 461"/>
                <a:gd name="T103" fmla="*/ 216 h 218"/>
                <a:gd name="T104" fmla="*/ 431 w 461"/>
                <a:gd name="T105" fmla="*/ 217 h 218"/>
                <a:gd name="T106" fmla="*/ 455 w 461"/>
                <a:gd name="T107" fmla="*/ 52 h 218"/>
                <a:gd name="T108" fmla="*/ 459 w 461"/>
                <a:gd name="T109" fmla="*/ 26 h 218"/>
                <a:gd name="T110" fmla="*/ 460 w 461"/>
                <a:gd name="T111" fmla="*/ 16 h 218"/>
                <a:gd name="T112" fmla="*/ 457 w 461"/>
                <a:gd name="T113" fmla="*/ 8 h 218"/>
                <a:gd name="T114" fmla="*/ 448 w 461"/>
                <a:gd name="T115" fmla="*/ 1 h 218"/>
                <a:gd name="T116" fmla="*/ 444 w 461"/>
                <a:gd name="T117" fmla="*/ 1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1" h="218">
                  <a:moveTo>
                    <a:pt x="444" y="1"/>
                  </a:moveTo>
                  <a:cubicBezTo>
                    <a:pt x="444" y="1"/>
                    <a:pt x="445" y="0"/>
                    <a:pt x="448" y="1"/>
                  </a:cubicBezTo>
                  <a:cubicBezTo>
                    <a:pt x="450" y="2"/>
                    <a:pt x="454" y="3"/>
                    <a:pt x="458" y="7"/>
                  </a:cubicBezTo>
                  <a:cubicBezTo>
                    <a:pt x="459" y="10"/>
                    <a:pt x="460" y="12"/>
                    <a:pt x="461" y="16"/>
                  </a:cubicBezTo>
                  <a:cubicBezTo>
                    <a:pt x="461" y="19"/>
                    <a:pt x="460" y="22"/>
                    <a:pt x="460" y="26"/>
                  </a:cubicBezTo>
                  <a:cubicBezTo>
                    <a:pt x="459" y="34"/>
                    <a:pt x="458" y="42"/>
                    <a:pt x="456" y="52"/>
                  </a:cubicBezTo>
                  <a:cubicBezTo>
                    <a:pt x="451" y="91"/>
                    <a:pt x="442" y="148"/>
                    <a:pt x="432" y="217"/>
                  </a:cubicBezTo>
                  <a:cubicBezTo>
                    <a:pt x="432" y="218"/>
                    <a:pt x="432" y="218"/>
                    <a:pt x="432" y="218"/>
                  </a:cubicBezTo>
                  <a:cubicBezTo>
                    <a:pt x="432" y="218"/>
                    <a:pt x="432" y="218"/>
                    <a:pt x="432" y="218"/>
                  </a:cubicBezTo>
                  <a:cubicBezTo>
                    <a:pt x="323" y="218"/>
                    <a:pt x="179" y="218"/>
                    <a:pt x="23" y="218"/>
                  </a:cubicBezTo>
                  <a:cubicBezTo>
                    <a:pt x="19" y="218"/>
                    <a:pt x="15" y="218"/>
                    <a:pt x="12" y="218"/>
                  </a:cubicBezTo>
                  <a:cubicBezTo>
                    <a:pt x="10" y="218"/>
                    <a:pt x="8" y="218"/>
                    <a:pt x="6" y="217"/>
                  </a:cubicBezTo>
                  <a:cubicBezTo>
                    <a:pt x="4" y="216"/>
                    <a:pt x="3" y="214"/>
                    <a:pt x="2" y="212"/>
                  </a:cubicBezTo>
                  <a:cubicBezTo>
                    <a:pt x="0" y="208"/>
                    <a:pt x="2" y="204"/>
                    <a:pt x="6" y="202"/>
                  </a:cubicBezTo>
                  <a:cubicBezTo>
                    <a:pt x="8" y="201"/>
                    <a:pt x="10" y="201"/>
                    <a:pt x="12" y="201"/>
                  </a:cubicBezTo>
                  <a:cubicBezTo>
                    <a:pt x="17" y="201"/>
                    <a:pt x="17" y="201"/>
                    <a:pt x="17" y="201"/>
                  </a:cubicBezTo>
                  <a:cubicBezTo>
                    <a:pt x="32" y="201"/>
                    <a:pt x="46" y="201"/>
                    <a:pt x="60" y="201"/>
                  </a:cubicBezTo>
                  <a:cubicBezTo>
                    <a:pt x="88" y="201"/>
                    <a:pt x="116" y="201"/>
                    <a:pt x="142" y="201"/>
                  </a:cubicBezTo>
                  <a:cubicBezTo>
                    <a:pt x="141" y="201"/>
                    <a:pt x="141" y="201"/>
                    <a:pt x="141" y="201"/>
                  </a:cubicBezTo>
                  <a:cubicBezTo>
                    <a:pt x="151" y="135"/>
                    <a:pt x="161" y="72"/>
                    <a:pt x="169" y="16"/>
                  </a:cubicBezTo>
                  <a:cubicBezTo>
                    <a:pt x="169" y="13"/>
                    <a:pt x="171" y="9"/>
                    <a:pt x="174" y="6"/>
                  </a:cubicBezTo>
                  <a:cubicBezTo>
                    <a:pt x="177" y="4"/>
                    <a:pt x="180" y="3"/>
                    <a:pt x="184" y="2"/>
                  </a:cubicBezTo>
                  <a:cubicBezTo>
                    <a:pt x="187" y="2"/>
                    <a:pt x="191" y="2"/>
                    <a:pt x="194" y="2"/>
                  </a:cubicBezTo>
                  <a:cubicBezTo>
                    <a:pt x="197" y="2"/>
                    <a:pt x="201" y="2"/>
                    <a:pt x="204" y="2"/>
                  </a:cubicBezTo>
                  <a:cubicBezTo>
                    <a:pt x="217" y="2"/>
                    <a:pt x="230" y="2"/>
                    <a:pt x="243" y="1"/>
                  </a:cubicBezTo>
                  <a:cubicBezTo>
                    <a:pt x="267" y="1"/>
                    <a:pt x="290" y="1"/>
                    <a:pt x="311" y="1"/>
                  </a:cubicBezTo>
                  <a:cubicBezTo>
                    <a:pt x="353" y="1"/>
                    <a:pt x="386" y="1"/>
                    <a:pt x="409" y="1"/>
                  </a:cubicBezTo>
                  <a:cubicBezTo>
                    <a:pt x="420" y="1"/>
                    <a:pt x="429" y="0"/>
                    <a:pt x="435" y="0"/>
                  </a:cubicBezTo>
                  <a:cubicBezTo>
                    <a:pt x="438" y="0"/>
                    <a:pt x="440" y="1"/>
                    <a:pt x="442" y="1"/>
                  </a:cubicBezTo>
                  <a:cubicBezTo>
                    <a:pt x="443" y="1"/>
                    <a:pt x="444" y="1"/>
                    <a:pt x="444" y="1"/>
                  </a:cubicBezTo>
                  <a:cubicBezTo>
                    <a:pt x="444" y="1"/>
                    <a:pt x="443" y="1"/>
                    <a:pt x="442" y="1"/>
                  </a:cubicBezTo>
                  <a:cubicBezTo>
                    <a:pt x="440" y="1"/>
                    <a:pt x="438" y="1"/>
                    <a:pt x="435" y="1"/>
                  </a:cubicBezTo>
                  <a:cubicBezTo>
                    <a:pt x="429" y="1"/>
                    <a:pt x="420" y="1"/>
                    <a:pt x="409" y="1"/>
                  </a:cubicBezTo>
                  <a:cubicBezTo>
                    <a:pt x="386" y="1"/>
                    <a:pt x="353" y="2"/>
                    <a:pt x="311" y="2"/>
                  </a:cubicBezTo>
                  <a:cubicBezTo>
                    <a:pt x="290" y="2"/>
                    <a:pt x="267" y="3"/>
                    <a:pt x="243" y="3"/>
                  </a:cubicBezTo>
                  <a:cubicBezTo>
                    <a:pt x="230" y="3"/>
                    <a:pt x="217" y="3"/>
                    <a:pt x="204" y="3"/>
                  </a:cubicBezTo>
                  <a:cubicBezTo>
                    <a:pt x="201" y="3"/>
                    <a:pt x="197" y="3"/>
                    <a:pt x="194" y="3"/>
                  </a:cubicBezTo>
                  <a:cubicBezTo>
                    <a:pt x="191" y="4"/>
                    <a:pt x="187" y="3"/>
                    <a:pt x="184" y="4"/>
                  </a:cubicBezTo>
                  <a:cubicBezTo>
                    <a:pt x="181" y="4"/>
                    <a:pt x="177" y="6"/>
                    <a:pt x="175" y="8"/>
                  </a:cubicBezTo>
                  <a:cubicBezTo>
                    <a:pt x="172" y="10"/>
                    <a:pt x="171" y="13"/>
                    <a:pt x="171" y="16"/>
                  </a:cubicBezTo>
                  <a:cubicBezTo>
                    <a:pt x="162" y="72"/>
                    <a:pt x="153" y="135"/>
                    <a:pt x="143" y="202"/>
                  </a:cubicBezTo>
                  <a:cubicBezTo>
                    <a:pt x="143" y="203"/>
                    <a:pt x="143" y="203"/>
                    <a:pt x="143" y="203"/>
                  </a:cubicBezTo>
                  <a:cubicBezTo>
                    <a:pt x="142" y="203"/>
                    <a:pt x="142" y="203"/>
                    <a:pt x="142" y="203"/>
                  </a:cubicBezTo>
                  <a:cubicBezTo>
                    <a:pt x="116" y="203"/>
                    <a:pt x="88" y="203"/>
                    <a:pt x="60" y="203"/>
                  </a:cubicBezTo>
                  <a:cubicBezTo>
                    <a:pt x="46" y="203"/>
                    <a:pt x="32" y="203"/>
                    <a:pt x="17" y="203"/>
                  </a:cubicBezTo>
                  <a:cubicBezTo>
                    <a:pt x="12" y="203"/>
                    <a:pt x="12" y="203"/>
                    <a:pt x="12" y="203"/>
                  </a:cubicBezTo>
                  <a:cubicBezTo>
                    <a:pt x="10" y="203"/>
                    <a:pt x="8" y="203"/>
                    <a:pt x="7" y="203"/>
                  </a:cubicBezTo>
                  <a:cubicBezTo>
                    <a:pt x="4" y="205"/>
                    <a:pt x="3" y="209"/>
                    <a:pt x="4" y="212"/>
                  </a:cubicBezTo>
                  <a:cubicBezTo>
                    <a:pt x="4" y="213"/>
                    <a:pt x="6" y="214"/>
                    <a:pt x="7" y="215"/>
                  </a:cubicBezTo>
                  <a:cubicBezTo>
                    <a:pt x="8" y="216"/>
                    <a:pt x="10" y="216"/>
                    <a:pt x="12" y="216"/>
                  </a:cubicBezTo>
                  <a:cubicBezTo>
                    <a:pt x="15" y="216"/>
                    <a:pt x="19" y="216"/>
                    <a:pt x="23" y="216"/>
                  </a:cubicBezTo>
                  <a:cubicBezTo>
                    <a:pt x="179" y="216"/>
                    <a:pt x="323" y="216"/>
                    <a:pt x="432" y="216"/>
                  </a:cubicBezTo>
                  <a:cubicBezTo>
                    <a:pt x="431" y="217"/>
                    <a:pt x="431" y="217"/>
                    <a:pt x="431" y="217"/>
                  </a:cubicBezTo>
                  <a:cubicBezTo>
                    <a:pt x="441" y="148"/>
                    <a:pt x="449" y="91"/>
                    <a:pt x="455" y="52"/>
                  </a:cubicBezTo>
                  <a:cubicBezTo>
                    <a:pt x="457" y="42"/>
                    <a:pt x="458" y="34"/>
                    <a:pt x="459" y="26"/>
                  </a:cubicBezTo>
                  <a:cubicBezTo>
                    <a:pt x="460" y="22"/>
                    <a:pt x="461" y="19"/>
                    <a:pt x="460" y="16"/>
                  </a:cubicBezTo>
                  <a:cubicBezTo>
                    <a:pt x="460" y="13"/>
                    <a:pt x="459" y="10"/>
                    <a:pt x="457" y="8"/>
                  </a:cubicBezTo>
                  <a:cubicBezTo>
                    <a:pt x="454" y="3"/>
                    <a:pt x="450" y="2"/>
                    <a:pt x="448" y="1"/>
                  </a:cubicBezTo>
                  <a:cubicBezTo>
                    <a:pt x="445" y="1"/>
                    <a:pt x="444" y="1"/>
                    <a:pt x="44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Oval 109">
              <a:extLst>
                <a:ext uri="{FF2B5EF4-FFF2-40B4-BE49-F238E27FC236}">
                  <a16:creationId xmlns:a16="http://schemas.microsoft.com/office/drawing/2014/main" id="{488864EB-C7EF-4CEC-A385-E1CC952AC8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4" y="2230"/>
              <a:ext cx="76" cy="7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10">
              <a:extLst>
                <a:ext uri="{FF2B5EF4-FFF2-40B4-BE49-F238E27FC236}">
                  <a16:creationId xmlns:a16="http://schemas.microsoft.com/office/drawing/2014/main" id="{6329D6FB-F456-43FD-A7DC-72E4B553FD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8" y="2024"/>
              <a:ext cx="86" cy="503"/>
            </a:xfrm>
            <a:custGeom>
              <a:avLst/>
              <a:gdLst>
                <a:gd name="T0" fmla="*/ 0 w 36"/>
                <a:gd name="T1" fmla="*/ 212 h 212"/>
                <a:gd name="T2" fmla="*/ 19 w 36"/>
                <a:gd name="T3" fmla="*/ 106 h 212"/>
                <a:gd name="T4" fmla="*/ 36 w 36"/>
                <a:gd name="T5" fmla="*/ 0 h 212"/>
                <a:gd name="T6" fmla="*/ 17 w 36"/>
                <a:gd name="T7" fmla="*/ 106 h 212"/>
                <a:gd name="T8" fmla="*/ 0 w 36"/>
                <a:gd name="T9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12">
                  <a:moveTo>
                    <a:pt x="0" y="212"/>
                  </a:moveTo>
                  <a:cubicBezTo>
                    <a:pt x="1" y="212"/>
                    <a:pt x="9" y="165"/>
                    <a:pt x="19" y="106"/>
                  </a:cubicBezTo>
                  <a:cubicBezTo>
                    <a:pt x="28" y="47"/>
                    <a:pt x="36" y="0"/>
                    <a:pt x="36" y="0"/>
                  </a:cubicBezTo>
                  <a:cubicBezTo>
                    <a:pt x="35" y="0"/>
                    <a:pt x="27" y="47"/>
                    <a:pt x="17" y="106"/>
                  </a:cubicBezTo>
                  <a:cubicBezTo>
                    <a:pt x="8" y="165"/>
                    <a:pt x="0" y="212"/>
                    <a:pt x="0" y="21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46" name="Rectangle 145">
            <a:extLst>
              <a:ext uri="{FF2B5EF4-FFF2-40B4-BE49-F238E27FC236}">
                <a16:creationId xmlns:a16="http://schemas.microsoft.com/office/drawing/2014/main" id="{27981B5A-A432-4EC7-92B6-406DE5BB103A}"/>
              </a:ext>
            </a:extLst>
          </p:cNvPr>
          <p:cNvSpPr/>
          <p:nvPr/>
        </p:nvSpPr>
        <p:spPr>
          <a:xfrm>
            <a:off x="7150100" y="1986277"/>
            <a:ext cx="4584699" cy="61440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unc in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et</a:t>
            </a:r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Morbi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fficitur</a:t>
            </a:r>
            <a:endParaRPr lang="en-US" sz="1600" i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A1D17DCF-005C-447E-A487-28A3DBCE51D5}"/>
              </a:ext>
            </a:extLst>
          </p:cNvPr>
          <p:cNvSpPr/>
          <p:nvPr/>
        </p:nvSpPr>
        <p:spPr>
          <a:xfrm>
            <a:off x="7150100" y="3116862"/>
            <a:ext cx="4584699" cy="61440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unc in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et</a:t>
            </a:r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Morbi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fficitur</a:t>
            </a:r>
            <a:endParaRPr lang="en-US" sz="1600" i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9417CC92-FE25-4F3D-A7A9-CD942A8493B1}"/>
              </a:ext>
            </a:extLst>
          </p:cNvPr>
          <p:cNvSpPr/>
          <p:nvPr/>
        </p:nvSpPr>
        <p:spPr>
          <a:xfrm>
            <a:off x="7150100" y="4247445"/>
            <a:ext cx="4584699" cy="61440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unc in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et</a:t>
            </a:r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Morbi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fficitur</a:t>
            </a:r>
            <a:endParaRPr lang="en-US" sz="1600" i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C854E732-D533-4C4E-93B5-4DA9A9E1AE90}"/>
              </a:ext>
            </a:extLst>
          </p:cNvPr>
          <p:cNvSpPr/>
          <p:nvPr/>
        </p:nvSpPr>
        <p:spPr>
          <a:xfrm>
            <a:off x="7150100" y="5378029"/>
            <a:ext cx="4584699" cy="61440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unc in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et</a:t>
            </a:r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6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Morbi </a:t>
            </a:r>
            <a:r>
              <a:rPr lang="en-US" sz="16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fficitur</a:t>
            </a:r>
            <a:endParaRPr lang="en-US" sz="1600" i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2" name="Freeform 55">
            <a:extLst>
              <a:ext uri="{FF2B5EF4-FFF2-40B4-BE49-F238E27FC236}">
                <a16:creationId xmlns:a16="http://schemas.microsoft.com/office/drawing/2014/main" id="{AD1F8331-218B-485E-B893-6E2CD1F31F77}"/>
              </a:ext>
            </a:extLst>
          </p:cNvPr>
          <p:cNvSpPr>
            <a:spLocks noEditPoints="1"/>
          </p:cNvSpPr>
          <p:nvPr/>
        </p:nvSpPr>
        <p:spPr bwMode="auto">
          <a:xfrm>
            <a:off x="6576643" y="1047123"/>
            <a:ext cx="246133" cy="247216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0 h 96"/>
              <a:gd name="T12" fmla="*/ 39 w 96"/>
              <a:gd name="T13" fmla="*/ 80 h 96"/>
              <a:gd name="T14" fmla="*/ 38 w 96"/>
              <a:gd name="T15" fmla="*/ 80 h 96"/>
              <a:gd name="T16" fmla="*/ 37 w 96"/>
              <a:gd name="T17" fmla="*/ 80 h 96"/>
              <a:gd name="T18" fmla="*/ 36 w 96"/>
              <a:gd name="T19" fmla="*/ 78 h 96"/>
              <a:gd name="T20" fmla="*/ 36 w 96"/>
              <a:gd name="T21" fmla="*/ 62 h 96"/>
              <a:gd name="T22" fmla="*/ 37 w 96"/>
              <a:gd name="T23" fmla="*/ 60 h 96"/>
              <a:gd name="T24" fmla="*/ 53 w 96"/>
              <a:gd name="T25" fmla="*/ 48 h 96"/>
              <a:gd name="T26" fmla="*/ 37 w 96"/>
              <a:gd name="T27" fmla="*/ 36 h 96"/>
              <a:gd name="T28" fmla="*/ 36 w 96"/>
              <a:gd name="T29" fmla="*/ 34 h 96"/>
              <a:gd name="T30" fmla="*/ 36 w 96"/>
              <a:gd name="T31" fmla="*/ 18 h 96"/>
              <a:gd name="T32" fmla="*/ 37 w 96"/>
              <a:gd name="T33" fmla="*/ 16 h 96"/>
              <a:gd name="T34" fmla="*/ 39 w 96"/>
              <a:gd name="T35" fmla="*/ 16 h 96"/>
              <a:gd name="T36" fmla="*/ 75 w 96"/>
              <a:gd name="T37" fmla="*/ 46 h 96"/>
              <a:gd name="T38" fmla="*/ 76 w 96"/>
              <a:gd name="T39" fmla="*/ 48 h 96"/>
              <a:gd name="T40" fmla="*/ 75 w 96"/>
              <a:gd name="T41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0"/>
                </a:moveTo>
                <a:cubicBezTo>
                  <a:pt x="39" y="80"/>
                  <a:pt x="39" y="80"/>
                  <a:pt x="39" y="80"/>
                </a:cubicBezTo>
                <a:cubicBezTo>
                  <a:pt x="39" y="80"/>
                  <a:pt x="38" y="80"/>
                  <a:pt x="38" y="80"/>
                </a:cubicBezTo>
                <a:cubicBezTo>
                  <a:pt x="38" y="80"/>
                  <a:pt x="37" y="80"/>
                  <a:pt x="37" y="80"/>
                </a:cubicBezTo>
                <a:cubicBezTo>
                  <a:pt x="36" y="79"/>
                  <a:pt x="36" y="79"/>
                  <a:pt x="36" y="78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1"/>
                  <a:pt x="36" y="61"/>
                  <a:pt x="37" y="60"/>
                </a:cubicBezTo>
                <a:cubicBezTo>
                  <a:pt x="53" y="48"/>
                  <a:pt x="53" y="48"/>
                  <a:pt x="53" y="48"/>
                </a:cubicBezTo>
                <a:cubicBezTo>
                  <a:pt x="37" y="36"/>
                  <a:pt x="37" y="36"/>
                  <a:pt x="37" y="36"/>
                </a:cubicBezTo>
                <a:cubicBezTo>
                  <a:pt x="36" y="35"/>
                  <a:pt x="36" y="35"/>
                  <a:pt x="36" y="34"/>
                </a:cubicBezTo>
                <a:cubicBezTo>
                  <a:pt x="36" y="18"/>
                  <a:pt x="36" y="18"/>
                  <a:pt x="36" y="18"/>
                </a:cubicBezTo>
                <a:cubicBezTo>
                  <a:pt x="36" y="17"/>
                  <a:pt x="36" y="17"/>
                  <a:pt x="37" y="16"/>
                </a:cubicBezTo>
                <a:cubicBezTo>
                  <a:pt x="38" y="16"/>
                  <a:pt x="39" y="16"/>
                  <a:pt x="39" y="16"/>
                </a:cubicBezTo>
                <a:cubicBezTo>
                  <a:pt x="75" y="46"/>
                  <a:pt x="75" y="46"/>
                  <a:pt x="75" y="46"/>
                </a:cubicBezTo>
                <a:cubicBezTo>
                  <a:pt x="76" y="47"/>
                  <a:pt x="76" y="47"/>
                  <a:pt x="76" y="48"/>
                </a:cubicBezTo>
                <a:cubicBezTo>
                  <a:pt x="76" y="49"/>
                  <a:pt x="76" y="49"/>
                  <a:pt x="75" y="50"/>
                </a:cubicBezTo>
                <a:close/>
              </a:path>
            </a:pathLst>
          </a:custGeom>
          <a:solidFill>
            <a:srgbClr val="29345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53" name="Freeform 55">
            <a:extLst>
              <a:ext uri="{FF2B5EF4-FFF2-40B4-BE49-F238E27FC236}">
                <a16:creationId xmlns:a16="http://schemas.microsoft.com/office/drawing/2014/main" id="{1D502352-52A8-4615-988E-99876B4B4247}"/>
              </a:ext>
            </a:extLst>
          </p:cNvPr>
          <p:cNvSpPr>
            <a:spLocks noEditPoints="1"/>
          </p:cNvSpPr>
          <p:nvPr/>
        </p:nvSpPr>
        <p:spPr bwMode="auto">
          <a:xfrm>
            <a:off x="6576643" y="2174807"/>
            <a:ext cx="246133" cy="247216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0 h 96"/>
              <a:gd name="T12" fmla="*/ 39 w 96"/>
              <a:gd name="T13" fmla="*/ 80 h 96"/>
              <a:gd name="T14" fmla="*/ 38 w 96"/>
              <a:gd name="T15" fmla="*/ 80 h 96"/>
              <a:gd name="T16" fmla="*/ 37 w 96"/>
              <a:gd name="T17" fmla="*/ 80 h 96"/>
              <a:gd name="T18" fmla="*/ 36 w 96"/>
              <a:gd name="T19" fmla="*/ 78 h 96"/>
              <a:gd name="T20" fmla="*/ 36 w 96"/>
              <a:gd name="T21" fmla="*/ 62 h 96"/>
              <a:gd name="T22" fmla="*/ 37 w 96"/>
              <a:gd name="T23" fmla="*/ 60 h 96"/>
              <a:gd name="T24" fmla="*/ 53 w 96"/>
              <a:gd name="T25" fmla="*/ 48 h 96"/>
              <a:gd name="T26" fmla="*/ 37 w 96"/>
              <a:gd name="T27" fmla="*/ 36 h 96"/>
              <a:gd name="T28" fmla="*/ 36 w 96"/>
              <a:gd name="T29" fmla="*/ 34 h 96"/>
              <a:gd name="T30" fmla="*/ 36 w 96"/>
              <a:gd name="T31" fmla="*/ 18 h 96"/>
              <a:gd name="T32" fmla="*/ 37 w 96"/>
              <a:gd name="T33" fmla="*/ 16 h 96"/>
              <a:gd name="T34" fmla="*/ 39 w 96"/>
              <a:gd name="T35" fmla="*/ 16 h 96"/>
              <a:gd name="T36" fmla="*/ 75 w 96"/>
              <a:gd name="T37" fmla="*/ 46 h 96"/>
              <a:gd name="T38" fmla="*/ 76 w 96"/>
              <a:gd name="T39" fmla="*/ 48 h 96"/>
              <a:gd name="T40" fmla="*/ 75 w 96"/>
              <a:gd name="T41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0"/>
                </a:moveTo>
                <a:cubicBezTo>
                  <a:pt x="39" y="80"/>
                  <a:pt x="39" y="80"/>
                  <a:pt x="39" y="80"/>
                </a:cubicBezTo>
                <a:cubicBezTo>
                  <a:pt x="39" y="80"/>
                  <a:pt x="38" y="80"/>
                  <a:pt x="38" y="80"/>
                </a:cubicBezTo>
                <a:cubicBezTo>
                  <a:pt x="38" y="80"/>
                  <a:pt x="37" y="80"/>
                  <a:pt x="37" y="80"/>
                </a:cubicBezTo>
                <a:cubicBezTo>
                  <a:pt x="36" y="79"/>
                  <a:pt x="36" y="79"/>
                  <a:pt x="36" y="78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1"/>
                  <a:pt x="36" y="61"/>
                  <a:pt x="37" y="60"/>
                </a:cubicBezTo>
                <a:cubicBezTo>
                  <a:pt x="53" y="48"/>
                  <a:pt x="53" y="48"/>
                  <a:pt x="53" y="48"/>
                </a:cubicBezTo>
                <a:cubicBezTo>
                  <a:pt x="37" y="36"/>
                  <a:pt x="37" y="36"/>
                  <a:pt x="37" y="36"/>
                </a:cubicBezTo>
                <a:cubicBezTo>
                  <a:pt x="36" y="35"/>
                  <a:pt x="36" y="35"/>
                  <a:pt x="36" y="34"/>
                </a:cubicBezTo>
                <a:cubicBezTo>
                  <a:pt x="36" y="18"/>
                  <a:pt x="36" y="18"/>
                  <a:pt x="36" y="18"/>
                </a:cubicBezTo>
                <a:cubicBezTo>
                  <a:pt x="36" y="17"/>
                  <a:pt x="36" y="17"/>
                  <a:pt x="37" y="16"/>
                </a:cubicBezTo>
                <a:cubicBezTo>
                  <a:pt x="38" y="16"/>
                  <a:pt x="39" y="16"/>
                  <a:pt x="39" y="16"/>
                </a:cubicBezTo>
                <a:cubicBezTo>
                  <a:pt x="75" y="46"/>
                  <a:pt x="75" y="46"/>
                  <a:pt x="75" y="46"/>
                </a:cubicBezTo>
                <a:cubicBezTo>
                  <a:pt x="76" y="47"/>
                  <a:pt x="76" y="47"/>
                  <a:pt x="76" y="48"/>
                </a:cubicBezTo>
                <a:cubicBezTo>
                  <a:pt x="76" y="49"/>
                  <a:pt x="76" y="49"/>
                  <a:pt x="75" y="50"/>
                </a:cubicBezTo>
                <a:close/>
              </a:path>
            </a:pathLst>
          </a:custGeom>
          <a:solidFill>
            <a:srgbClr val="29345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54" name="Freeform 55">
            <a:extLst>
              <a:ext uri="{FF2B5EF4-FFF2-40B4-BE49-F238E27FC236}">
                <a16:creationId xmlns:a16="http://schemas.microsoft.com/office/drawing/2014/main" id="{20886205-1BBB-4AB0-8FBC-A77594C948F5}"/>
              </a:ext>
            </a:extLst>
          </p:cNvPr>
          <p:cNvSpPr>
            <a:spLocks noEditPoints="1"/>
          </p:cNvSpPr>
          <p:nvPr/>
        </p:nvSpPr>
        <p:spPr bwMode="auto">
          <a:xfrm>
            <a:off x="6576643" y="3305392"/>
            <a:ext cx="246133" cy="247216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0 h 96"/>
              <a:gd name="T12" fmla="*/ 39 w 96"/>
              <a:gd name="T13" fmla="*/ 80 h 96"/>
              <a:gd name="T14" fmla="*/ 38 w 96"/>
              <a:gd name="T15" fmla="*/ 80 h 96"/>
              <a:gd name="T16" fmla="*/ 37 w 96"/>
              <a:gd name="T17" fmla="*/ 80 h 96"/>
              <a:gd name="T18" fmla="*/ 36 w 96"/>
              <a:gd name="T19" fmla="*/ 78 h 96"/>
              <a:gd name="T20" fmla="*/ 36 w 96"/>
              <a:gd name="T21" fmla="*/ 62 h 96"/>
              <a:gd name="T22" fmla="*/ 37 w 96"/>
              <a:gd name="T23" fmla="*/ 60 h 96"/>
              <a:gd name="T24" fmla="*/ 53 w 96"/>
              <a:gd name="T25" fmla="*/ 48 h 96"/>
              <a:gd name="T26" fmla="*/ 37 w 96"/>
              <a:gd name="T27" fmla="*/ 36 h 96"/>
              <a:gd name="T28" fmla="*/ 36 w 96"/>
              <a:gd name="T29" fmla="*/ 34 h 96"/>
              <a:gd name="T30" fmla="*/ 36 w 96"/>
              <a:gd name="T31" fmla="*/ 18 h 96"/>
              <a:gd name="T32" fmla="*/ 37 w 96"/>
              <a:gd name="T33" fmla="*/ 16 h 96"/>
              <a:gd name="T34" fmla="*/ 39 w 96"/>
              <a:gd name="T35" fmla="*/ 16 h 96"/>
              <a:gd name="T36" fmla="*/ 75 w 96"/>
              <a:gd name="T37" fmla="*/ 46 h 96"/>
              <a:gd name="T38" fmla="*/ 76 w 96"/>
              <a:gd name="T39" fmla="*/ 48 h 96"/>
              <a:gd name="T40" fmla="*/ 75 w 96"/>
              <a:gd name="T41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0"/>
                </a:moveTo>
                <a:cubicBezTo>
                  <a:pt x="39" y="80"/>
                  <a:pt x="39" y="80"/>
                  <a:pt x="39" y="80"/>
                </a:cubicBezTo>
                <a:cubicBezTo>
                  <a:pt x="39" y="80"/>
                  <a:pt x="38" y="80"/>
                  <a:pt x="38" y="80"/>
                </a:cubicBezTo>
                <a:cubicBezTo>
                  <a:pt x="38" y="80"/>
                  <a:pt x="37" y="80"/>
                  <a:pt x="37" y="80"/>
                </a:cubicBezTo>
                <a:cubicBezTo>
                  <a:pt x="36" y="79"/>
                  <a:pt x="36" y="79"/>
                  <a:pt x="36" y="78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1"/>
                  <a:pt x="36" y="61"/>
                  <a:pt x="37" y="60"/>
                </a:cubicBezTo>
                <a:cubicBezTo>
                  <a:pt x="53" y="48"/>
                  <a:pt x="53" y="48"/>
                  <a:pt x="53" y="48"/>
                </a:cubicBezTo>
                <a:cubicBezTo>
                  <a:pt x="37" y="36"/>
                  <a:pt x="37" y="36"/>
                  <a:pt x="37" y="36"/>
                </a:cubicBezTo>
                <a:cubicBezTo>
                  <a:pt x="36" y="35"/>
                  <a:pt x="36" y="35"/>
                  <a:pt x="36" y="34"/>
                </a:cubicBezTo>
                <a:cubicBezTo>
                  <a:pt x="36" y="18"/>
                  <a:pt x="36" y="18"/>
                  <a:pt x="36" y="18"/>
                </a:cubicBezTo>
                <a:cubicBezTo>
                  <a:pt x="36" y="17"/>
                  <a:pt x="36" y="17"/>
                  <a:pt x="37" y="16"/>
                </a:cubicBezTo>
                <a:cubicBezTo>
                  <a:pt x="38" y="16"/>
                  <a:pt x="39" y="16"/>
                  <a:pt x="39" y="16"/>
                </a:cubicBezTo>
                <a:cubicBezTo>
                  <a:pt x="75" y="46"/>
                  <a:pt x="75" y="46"/>
                  <a:pt x="75" y="46"/>
                </a:cubicBezTo>
                <a:cubicBezTo>
                  <a:pt x="76" y="47"/>
                  <a:pt x="76" y="47"/>
                  <a:pt x="76" y="48"/>
                </a:cubicBezTo>
                <a:cubicBezTo>
                  <a:pt x="76" y="49"/>
                  <a:pt x="76" y="49"/>
                  <a:pt x="75" y="50"/>
                </a:cubicBezTo>
                <a:close/>
              </a:path>
            </a:pathLst>
          </a:custGeom>
          <a:solidFill>
            <a:srgbClr val="29345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55" name="Freeform 55">
            <a:extLst>
              <a:ext uri="{FF2B5EF4-FFF2-40B4-BE49-F238E27FC236}">
                <a16:creationId xmlns:a16="http://schemas.microsoft.com/office/drawing/2014/main" id="{DD8EC71E-2E01-4FBA-A870-32D259E7C498}"/>
              </a:ext>
            </a:extLst>
          </p:cNvPr>
          <p:cNvSpPr>
            <a:spLocks noEditPoints="1"/>
          </p:cNvSpPr>
          <p:nvPr/>
        </p:nvSpPr>
        <p:spPr bwMode="auto">
          <a:xfrm>
            <a:off x="6576643" y="4435975"/>
            <a:ext cx="246133" cy="247216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0 h 96"/>
              <a:gd name="T12" fmla="*/ 39 w 96"/>
              <a:gd name="T13" fmla="*/ 80 h 96"/>
              <a:gd name="T14" fmla="*/ 38 w 96"/>
              <a:gd name="T15" fmla="*/ 80 h 96"/>
              <a:gd name="T16" fmla="*/ 37 w 96"/>
              <a:gd name="T17" fmla="*/ 80 h 96"/>
              <a:gd name="T18" fmla="*/ 36 w 96"/>
              <a:gd name="T19" fmla="*/ 78 h 96"/>
              <a:gd name="T20" fmla="*/ 36 w 96"/>
              <a:gd name="T21" fmla="*/ 62 h 96"/>
              <a:gd name="T22" fmla="*/ 37 w 96"/>
              <a:gd name="T23" fmla="*/ 60 h 96"/>
              <a:gd name="T24" fmla="*/ 53 w 96"/>
              <a:gd name="T25" fmla="*/ 48 h 96"/>
              <a:gd name="T26" fmla="*/ 37 w 96"/>
              <a:gd name="T27" fmla="*/ 36 h 96"/>
              <a:gd name="T28" fmla="*/ 36 w 96"/>
              <a:gd name="T29" fmla="*/ 34 h 96"/>
              <a:gd name="T30" fmla="*/ 36 w 96"/>
              <a:gd name="T31" fmla="*/ 18 h 96"/>
              <a:gd name="T32" fmla="*/ 37 w 96"/>
              <a:gd name="T33" fmla="*/ 16 h 96"/>
              <a:gd name="T34" fmla="*/ 39 w 96"/>
              <a:gd name="T35" fmla="*/ 16 h 96"/>
              <a:gd name="T36" fmla="*/ 75 w 96"/>
              <a:gd name="T37" fmla="*/ 46 h 96"/>
              <a:gd name="T38" fmla="*/ 76 w 96"/>
              <a:gd name="T39" fmla="*/ 48 h 96"/>
              <a:gd name="T40" fmla="*/ 75 w 96"/>
              <a:gd name="T41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0"/>
                </a:moveTo>
                <a:cubicBezTo>
                  <a:pt x="39" y="80"/>
                  <a:pt x="39" y="80"/>
                  <a:pt x="39" y="80"/>
                </a:cubicBezTo>
                <a:cubicBezTo>
                  <a:pt x="39" y="80"/>
                  <a:pt x="38" y="80"/>
                  <a:pt x="38" y="80"/>
                </a:cubicBezTo>
                <a:cubicBezTo>
                  <a:pt x="38" y="80"/>
                  <a:pt x="37" y="80"/>
                  <a:pt x="37" y="80"/>
                </a:cubicBezTo>
                <a:cubicBezTo>
                  <a:pt x="36" y="79"/>
                  <a:pt x="36" y="79"/>
                  <a:pt x="36" y="78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1"/>
                  <a:pt x="36" y="61"/>
                  <a:pt x="37" y="60"/>
                </a:cubicBezTo>
                <a:cubicBezTo>
                  <a:pt x="53" y="48"/>
                  <a:pt x="53" y="48"/>
                  <a:pt x="53" y="48"/>
                </a:cubicBezTo>
                <a:cubicBezTo>
                  <a:pt x="37" y="36"/>
                  <a:pt x="37" y="36"/>
                  <a:pt x="37" y="36"/>
                </a:cubicBezTo>
                <a:cubicBezTo>
                  <a:pt x="36" y="35"/>
                  <a:pt x="36" y="35"/>
                  <a:pt x="36" y="34"/>
                </a:cubicBezTo>
                <a:cubicBezTo>
                  <a:pt x="36" y="18"/>
                  <a:pt x="36" y="18"/>
                  <a:pt x="36" y="18"/>
                </a:cubicBezTo>
                <a:cubicBezTo>
                  <a:pt x="36" y="17"/>
                  <a:pt x="36" y="17"/>
                  <a:pt x="37" y="16"/>
                </a:cubicBezTo>
                <a:cubicBezTo>
                  <a:pt x="38" y="16"/>
                  <a:pt x="39" y="16"/>
                  <a:pt x="39" y="16"/>
                </a:cubicBezTo>
                <a:cubicBezTo>
                  <a:pt x="75" y="46"/>
                  <a:pt x="75" y="46"/>
                  <a:pt x="75" y="46"/>
                </a:cubicBezTo>
                <a:cubicBezTo>
                  <a:pt x="76" y="47"/>
                  <a:pt x="76" y="47"/>
                  <a:pt x="76" y="48"/>
                </a:cubicBezTo>
                <a:cubicBezTo>
                  <a:pt x="76" y="49"/>
                  <a:pt x="76" y="49"/>
                  <a:pt x="75" y="50"/>
                </a:cubicBezTo>
                <a:close/>
              </a:path>
            </a:pathLst>
          </a:custGeom>
          <a:solidFill>
            <a:srgbClr val="29345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56" name="Freeform 55">
            <a:extLst>
              <a:ext uri="{FF2B5EF4-FFF2-40B4-BE49-F238E27FC236}">
                <a16:creationId xmlns:a16="http://schemas.microsoft.com/office/drawing/2014/main" id="{92C8820D-3678-40B2-916A-6784616189AF}"/>
              </a:ext>
            </a:extLst>
          </p:cNvPr>
          <p:cNvSpPr>
            <a:spLocks noEditPoints="1"/>
          </p:cNvSpPr>
          <p:nvPr/>
        </p:nvSpPr>
        <p:spPr bwMode="auto">
          <a:xfrm>
            <a:off x="6576643" y="5566559"/>
            <a:ext cx="246133" cy="247216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0 h 96"/>
              <a:gd name="T12" fmla="*/ 39 w 96"/>
              <a:gd name="T13" fmla="*/ 80 h 96"/>
              <a:gd name="T14" fmla="*/ 38 w 96"/>
              <a:gd name="T15" fmla="*/ 80 h 96"/>
              <a:gd name="T16" fmla="*/ 37 w 96"/>
              <a:gd name="T17" fmla="*/ 80 h 96"/>
              <a:gd name="T18" fmla="*/ 36 w 96"/>
              <a:gd name="T19" fmla="*/ 78 h 96"/>
              <a:gd name="T20" fmla="*/ 36 w 96"/>
              <a:gd name="T21" fmla="*/ 62 h 96"/>
              <a:gd name="T22" fmla="*/ 37 w 96"/>
              <a:gd name="T23" fmla="*/ 60 h 96"/>
              <a:gd name="T24" fmla="*/ 53 w 96"/>
              <a:gd name="T25" fmla="*/ 48 h 96"/>
              <a:gd name="T26" fmla="*/ 37 w 96"/>
              <a:gd name="T27" fmla="*/ 36 h 96"/>
              <a:gd name="T28" fmla="*/ 36 w 96"/>
              <a:gd name="T29" fmla="*/ 34 h 96"/>
              <a:gd name="T30" fmla="*/ 36 w 96"/>
              <a:gd name="T31" fmla="*/ 18 h 96"/>
              <a:gd name="T32" fmla="*/ 37 w 96"/>
              <a:gd name="T33" fmla="*/ 16 h 96"/>
              <a:gd name="T34" fmla="*/ 39 w 96"/>
              <a:gd name="T35" fmla="*/ 16 h 96"/>
              <a:gd name="T36" fmla="*/ 75 w 96"/>
              <a:gd name="T37" fmla="*/ 46 h 96"/>
              <a:gd name="T38" fmla="*/ 76 w 96"/>
              <a:gd name="T39" fmla="*/ 48 h 96"/>
              <a:gd name="T40" fmla="*/ 75 w 96"/>
              <a:gd name="T41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0"/>
                </a:moveTo>
                <a:cubicBezTo>
                  <a:pt x="39" y="80"/>
                  <a:pt x="39" y="80"/>
                  <a:pt x="39" y="80"/>
                </a:cubicBezTo>
                <a:cubicBezTo>
                  <a:pt x="39" y="80"/>
                  <a:pt x="38" y="80"/>
                  <a:pt x="38" y="80"/>
                </a:cubicBezTo>
                <a:cubicBezTo>
                  <a:pt x="38" y="80"/>
                  <a:pt x="37" y="80"/>
                  <a:pt x="37" y="80"/>
                </a:cubicBezTo>
                <a:cubicBezTo>
                  <a:pt x="36" y="79"/>
                  <a:pt x="36" y="79"/>
                  <a:pt x="36" y="78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1"/>
                  <a:pt x="36" y="61"/>
                  <a:pt x="37" y="60"/>
                </a:cubicBezTo>
                <a:cubicBezTo>
                  <a:pt x="53" y="48"/>
                  <a:pt x="53" y="48"/>
                  <a:pt x="53" y="48"/>
                </a:cubicBezTo>
                <a:cubicBezTo>
                  <a:pt x="37" y="36"/>
                  <a:pt x="37" y="36"/>
                  <a:pt x="37" y="36"/>
                </a:cubicBezTo>
                <a:cubicBezTo>
                  <a:pt x="36" y="35"/>
                  <a:pt x="36" y="35"/>
                  <a:pt x="36" y="34"/>
                </a:cubicBezTo>
                <a:cubicBezTo>
                  <a:pt x="36" y="18"/>
                  <a:pt x="36" y="18"/>
                  <a:pt x="36" y="18"/>
                </a:cubicBezTo>
                <a:cubicBezTo>
                  <a:pt x="36" y="17"/>
                  <a:pt x="36" y="17"/>
                  <a:pt x="37" y="16"/>
                </a:cubicBezTo>
                <a:cubicBezTo>
                  <a:pt x="38" y="16"/>
                  <a:pt x="39" y="16"/>
                  <a:pt x="39" y="16"/>
                </a:cubicBezTo>
                <a:cubicBezTo>
                  <a:pt x="75" y="46"/>
                  <a:pt x="75" y="46"/>
                  <a:pt x="75" y="46"/>
                </a:cubicBezTo>
                <a:cubicBezTo>
                  <a:pt x="76" y="47"/>
                  <a:pt x="76" y="47"/>
                  <a:pt x="76" y="48"/>
                </a:cubicBezTo>
                <a:cubicBezTo>
                  <a:pt x="76" y="49"/>
                  <a:pt x="76" y="49"/>
                  <a:pt x="75" y="50"/>
                </a:cubicBezTo>
                <a:close/>
              </a:path>
            </a:pathLst>
          </a:custGeom>
          <a:solidFill>
            <a:srgbClr val="29345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497613A6-35C9-40E3-9814-E1B41EE55021}"/>
              </a:ext>
            </a:extLst>
          </p:cNvPr>
          <p:cNvGrpSpPr/>
          <p:nvPr/>
        </p:nvGrpSpPr>
        <p:grpSpPr>
          <a:xfrm>
            <a:off x="4402227" y="1033500"/>
            <a:ext cx="270914" cy="272109"/>
            <a:chOff x="5554663" y="3971925"/>
            <a:chExt cx="360362" cy="361951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1" name="Freeform 27">
              <a:extLst>
                <a:ext uri="{FF2B5EF4-FFF2-40B4-BE49-F238E27FC236}">
                  <a16:creationId xmlns:a16="http://schemas.microsoft.com/office/drawing/2014/main" id="{667B6839-1DB5-4046-83BD-5F78D9F8E0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4078288"/>
              <a:ext cx="255588" cy="255588"/>
            </a:xfrm>
            <a:custGeom>
              <a:avLst/>
              <a:gdLst>
                <a:gd name="T0" fmla="*/ 67 w 68"/>
                <a:gd name="T1" fmla="*/ 41 h 68"/>
                <a:gd name="T2" fmla="*/ 62 w 68"/>
                <a:gd name="T3" fmla="*/ 38 h 68"/>
                <a:gd name="T4" fmla="*/ 62 w 68"/>
                <a:gd name="T5" fmla="*/ 34 h 68"/>
                <a:gd name="T6" fmla="*/ 62 w 68"/>
                <a:gd name="T7" fmla="*/ 30 h 68"/>
                <a:gd name="T8" fmla="*/ 67 w 68"/>
                <a:gd name="T9" fmla="*/ 27 h 68"/>
                <a:gd name="T10" fmla="*/ 67 w 68"/>
                <a:gd name="T11" fmla="*/ 24 h 68"/>
                <a:gd name="T12" fmla="*/ 59 w 68"/>
                <a:gd name="T13" fmla="*/ 10 h 68"/>
                <a:gd name="T14" fmla="*/ 58 w 68"/>
                <a:gd name="T15" fmla="*/ 9 h 68"/>
                <a:gd name="T16" fmla="*/ 57 w 68"/>
                <a:gd name="T17" fmla="*/ 9 h 68"/>
                <a:gd name="T18" fmla="*/ 52 w 68"/>
                <a:gd name="T19" fmla="*/ 12 h 68"/>
                <a:gd name="T20" fmla="*/ 44 w 68"/>
                <a:gd name="T21" fmla="*/ 8 h 68"/>
                <a:gd name="T22" fmla="*/ 44 w 68"/>
                <a:gd name="T23" fmla="*/ 2 h 68"/>
                <a:gd name="T24" fmla="*/ 42 w 68"/>
                <a:gd name="T25" fmla="*/ 0 h 68"/>
                <a:gd name="T26" fmla="*/ 26 w 68"/>
                <a:gd name="T27" fmla="*/ 0 h 68"/>
                <a:gd name="T28" fmla="*/ 24 w 68"/>
                <a:gd name="T29" fmla="*/ 2 h 68"/>
                <a:gd name="T30" fmla="*/ 24 w 68"/>
                <a:gd name="T31" fmla="*/ 8 h 68"/>
                <a:gd name="T32" fmla="*/ 17 w 68"/>
                <a:gd name="T33" fmla="*/ 12 h 68"/>
                <a:gd name="T34" fmla="*/ 11 w 68"/>
                <a:gd name="T35" fmla="*/ 9 h 68"/>
                <a:gd name="T36" fmla="*/ 9 w 68"/>
                <a:gd name="T37" fmla="*/ 10 h 68"/>
                <a:gd name="T38" fmla="*/ 1 w 68"/>
                <a:gd name="T39" fmla="*/ 24 h 68"/>
                <a:gd name="T40" fmla="*/ 0 w 68"/>
                <a:gd name="T41" fmla="*/ 25 h 68"/>
                <a:gd name="T42" fmla="*/ 1 w 68"/>
                <a:gd name="T43" fmla="*/ 27 h 68"/>
                <a:gd name="T44" fmla="*/ 6 w 68"/>
                <a:gd name="T45" fmla="*/ 30 h 68"/>
                <a:gd name="T46" fmla="*/ 6 w 68"/>
                <a:gd name="T47" fmla="*/ 34 h 68"/>
                <a:gd name="T48" fmla="*/ 6 w 68"/>
                <a:gd name="T49" fmla="*/ 38 h 68"/>
                <a:gd name="T50" fmla="*/ 1 w 68"/>
                <a:gd name="T51" fmla="*/ 41 h 68"/>
                <a:gd name="T52" fmla="*/ 1 w 68"/>
                <a:gd name="T53" fmla="*/ 44 h 68"/>
                <a:gd name="T54" fmla="*/ 9 w 68"/>
                <a:gd name="T55" fmla="*/ 58 h 68"/>
                <a:gd name="T56" fmla="*/ 11 w 68"/>
                <a:gd name="T57" fmla="*/ 59 h 68"/>
                <a:gd name="T58" fmla="*/ 17 w 68"/>
                <a:gd name="T59" fmla="*/ 56 h 68"/>
                <a:gd name="T60" fmla="*/ 24 w 68"/>
                <a:gd name="T61" fmla="*/ 60 h 68"/>
                <a:gd name="T62" fmla="*/ 24 w 68"/>
                <a:gd name="T63" fmla="*/ 66 h 68"/>
                <a:gd name="T64" fmla="*/ 26 w 68"/>
                <a:gd name="T65" fmla="*/ 68 h 68"/>
                <a:gd name="T66" fmla="*/ 42 w 68"/>
                <a:gd name="T67" fmla="*/ 68 h 68"/>
                <a:gd name="T68" fmla="*/ 44 w 68"/>
                <a:gd name="T69" fmla="*/ 66 h 68"/>
                <a:gd name="T70" fmla="*/ 44 w 68"/>
                <a:gd name="T71" fmla="*/ 60 h 68"/>
                <a:gd name="T72" fmla="*/ 52 w 68"/>
                <a:gd name="T73" fmla="*/ 56 h 68"/>
                <a:gd name="T74" fmla="*/ 57 w 68"/>
                <a:gd name="T75" fmla="*/ 59 h 68"/>
                <a:gd name="T76" fmla="*/ 58 w 68"/>
                <a:gd name="T77" fmla="*/ 59 h 68"/>
                <a:gd name="T78" fmla="*/ 60 w 68"/>
                <a:gd name="T79" fmla="*/ 58 h 68"/>
                <a:gd name="T80" fmla="*/ 68 w 68"/>
                <a:gd name="T81" fmla="*/ 44 h 68"/>
                <a:gd name="T82" fmla="*/ 67 w 68"/>
                <a:gd name="T83" fmla="*/ 41 h 68"/>
                <a:gd name="T84" fmla="*/ 34 w 68"/>
                <a:gd name="T85" fmla="*/ 48 h 68"/>
                <a:gd name="T86" fmla="*/ 20 w 68"/>
                <a:gd name="T87" fmla="*/ 34 h 68"/>
                <a:gd name="T88" fmla="*/ 34 w 68"/>
                <a:gd name="T89" fmla="*/ 20 h 68"/>
                <a:gd name="T90" fmla="*/ 48 w 68"/>
                <a:gd name="T91" fmla="*/ 34 h 68"/>
                <a:gd name="T92" fmla="*/ 34 w 68"/>
                <a:gd name="T93" fmla="*/ 4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8" h="68">
                  <a:moveTo>
                    <a:pt x="67" y="41"/>
                  </a:moveTo>
                  <a:cubicBezTo>
                    <a:pt x="62" y="38"/>
                    <a:pt x="62" y="38"/>
                    <a:pt x="62" y="38"/>
                  </a:cubicBezTo>
                  <a:cubicBezTo>
                    <a:pt x="62" y="37"/>
                    <a:pt x="62" y="35"/>
                    <a:pt x="62" y="34"/>
                  </a:cubicBezTo>
                  <a:cubicBezTo>
                    <a:pt x="62" y="33"/>
                    <a:pt x="62" y="31"/>
                    <a:pt x="62" y="30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8" y="26"/>
                    <a:pt x="68" y="25"/>
                    <a:pt x="67" y="24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10"/>
                    <a:pt x="59" y="9"/>
                    <a:pt x="58" y="9"/>
                  </a:cubicBezTo>
                  <a:cubicBezTo>
                    <a:pt x="58" y="9"/>
                    <a:pt x="57" y="9"/>
                    <a:pt x="57" y="9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0" y="10"/>
                    <a:pt x="47" y="9"/>
                    <a:pt x="44" y="8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4" y="1"/>
                    <a:pt x="24" y="2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2" y="9"/>
                    <a:pt x="19" y="10"/>
                    <a:pt x="17" y="12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9" y="9"/>
                    <a:pt x="9" y="10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1"/>
                    <a:pt x="6" y="33"/>
                    <a:pt x="6" y="34"/>
                  </a:cubicBezTo>
                  <a:cubicBezTo>
                    <a:pt x="6" y="35"/>
                    <a:pt x="6" y="37"/>
                    <a:pt x="6" y="38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0" y="42"/>
                    <a:pt x="0" y="43"/>
                    <a:pt x="1" y="44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59"/>
                    <a:pt x="10" y="59"/>
                    <a:pt x="11" y="59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9" y="58"/>
                    <a:pt x="22" y="59"/>
                    <a:pt x="24" y="60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7"/>
                    <a:pt x="25" y="68"/>
                    <a:pt x="26" y="68"/>
                  </a:cubicBezTo>
                  <a:cubicBezTo>
                    <a:pt x="42" y="68"/>
                    <a:pt x="42" y="68"/>
                    <a:pt x="42" y="68"/>
                  </a:cubicBezTo>
                  <a:cubicBezTo>
                    <a:pt x="43" y="68"/>
                    <a:pt x="44" y="67"/>
                    <a:pt x="44" y="66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7" y="59"/>
                    <a:pt x="50" y="58"/>
                    <a:pt x="52" y="56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7" y="59"/>
                    <a:pt x="58" y="59"/>
                    <a:pt x="58" y="59"/>
                  </a:cubicBezTo>
                  <a:cubicBezTo>
                    <a:pt x="59" y="59"/>
                    <a:pt x="59" y="58"/>
                    <a:pt x="60" y="58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8" y="43"/>
                    <a:pt x="68" y="42"/>
                    <a:pt x="67" y="41"/>
                  </a:cubicBezTo>
                  <a:close/>
                  <a:moveTo>
                    <a:pt x="34" y="48"/>
                  </a:moveTo>
                  <a:cubicBezTo>
                    <a:pt x="26" y="48"/>
                    <a:pt x="20" y="42"/>
                    <a:pt x="20" y="34"/>
                  </a:cubicBezTo>
                  <a:cubicBezTo>
                    <a:pt x="20" y="26"/>
                    <a:pt x="26" y="20"/>
                    <a:pt x="34" y="20"/>
                  </a:cubicBezTo>
                  <a:cubicBezTo>
                    <a:pt x="42" y="20"/>
                    <a:pt x="48" y="26"/>
                    <a:pt x="48" y="34"/>
                  </a:cubicBezTo>
                  <a:cubicBezTo>
                    <a:pt x="48" y="42"/>
                    <a:pt x="42" y="48"/>
                    <a:pt x="3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2" name="Freeform 28">
              <a:extLst>
                <a:ext uri="{FF2B5EF4-FFF2-40B4-BE49-F238E27FC236}">
                  <a16:creationId xmlns:a16="http://schemas.microsoft.com/office/drawing/2014/main" id="{0A95C9D3-3A1C-473C-839B-8DE685F612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65800" y="3971925"/>
              <a:ext cx="149225" cy="150813"/>
            </a:xfrm>
            <a:custGeom>
              <a:avLst/>
              <a:gdLst>
                <a:gd name="T0" fmla="*/ 39 w 40"/>
                <a:gd name="T1" fmla="*/ 24 h 40"/>
                <a:gd name="T2" fmla="*/ 36 w 40"/>
                <a:gd name="T3" fmla="*/ 22 h 40"/>
                <a:gd name="T4" fmla="*/ 36 w 40"/>
                <a:gd name="T5" fmla="*/ 20 h 40"/>
                <a:gd name="T6" fmla="*/ 36 w 40"/>
                <a:gd name="T7" fmla="*/ 18 h 40"/>
                <a:gd name="T8" fmla="*/ 39 w 40"/>
                <a:gd name="T9" fmla="*/ 16 h 40"/>
                <a:gd name="T10" fmla="*/ 39 w 40"/>
                <a:gd name="T11" fmla="*/ 13 h 40"/>
                <a:gd name="T12" fmla="*/ 35 w 40"/>
                <a:gd name="T13" fmla="*/ 7 h 40"/>
                <a:gd name="T14" fmla="*/ 34 w 40"/>
                <a:gd name="T15" fmla="*/ 6 h 40"/>
                <a:gd name="T16" fmla="*/ 33 w 40"/>
                <a:gd name="T17" fmla="*/ 6 h 40"/>
                <a:gd name="T18" fmla="*/ 30 w 40"/>
                <a:gd name="T19" fmla="*/ 7 h 40"/>
                <a:gd name="T20" fmla="*/ 26 w 40"/>
                <a:gd name="T21" fmla="*/ 5 h 40"/>
                <a:gd name="T22" fmla="*/ 26 w 40"/>
                <a:gd name="T23" fmla="*/ 2 h 40"/>
                <a:gd name="T24" fmla="*/ 24 w 40"/>
                <a:gd name="T25" fmla="*/ 0 h 40"/>
                <a:gd name="T26" fmla="*/ 16 w 40"/>
                <a:gd name="T27" fmla="*/ 0 h 40"/>
                <a:gd name="T28" fmla="*/ 14 w 40"/>
                <a:gd name="T29" fmla="*/ 2 h 40"/>
                <a:gd name="T30" fmla="*/ 14 w 40"/>
                <a:gd name="T31" fmla="*/ 5 h 40"/>
                <a:gd name="T32" fmla="*/ 10 w 40"/>
                <a:gd name="T33" fmla="*/ 7 h 40"/>
                <a:gd name="T34" fmla="*/ 8 w 40"/>
                <a:gd name="T35" fmla="*/ 6 h 40"/>
                <a:gd name="T36" fmla="*/ 5 w 40"/>
                <a:gd name="T37" fmla="*/ 7 h 40"/>
                <a:gd name="T38" fmla="*/ 1 w 40"/>
                <a:gd name="T39" fmla="*/ 13 h 40"/>
                <a:gd name="T40" fmla="*/ 1 w 40"/>
                <a:gd name="T41" fmla="*/ 15 h 40"/>
                <a:gd name="T42" fmla="*/ 1 w 40"/>
                <a:gd name="T43" fmla="*/ 16 h 40"/>
                <a:gd name="T44" fmla="*/ 4 w 40"/>
                <a:gd name="T45" fmla="*/ 18 h 40"/>
                <a:gd name="T46" fmla="*/ 4 w 40"/>
                <a:gd name="T47" fmla="*/ 20 h 40"/>
                <a:gd name="T48" fmla="*/ 4 w 40"/>
                <a:gd name="T49" fmla="*/ 22 h 40"/>
                <a:gd name="T50" fmla="*/ 1 w 40"/>
                <a:gd name="T51" fmla="*/ 24 h 40"/>
                <a:gd name="T52" fmla="*/ 1 w 40"/>
                <a:gd name="T53" fmla="*/ 25 h 40"/>
                <a:gd name="T54" fmla="*/ 1 w 40"/>
                <a:gd name="T55" fmla="*/ 27 h 40"/>
                <a:gd name="T56" fmla="*/ 5 w 40"/>
                <a:gd name="T57" fmla="*/ 33 h 40"/>
                <a:gd name="T58" fmla="*/ 7 w 40"/>
                <a:gd name="T59" fmla="*/ 34 h 40"/>
                <a:gd name="T60" fmla="*/ 10 w 40"/>
                <a:gd name="T61" fmla="*/ 33 h 40"/>
                <a:gd name="T62" fmla="*/ 14 w 40"/>
                <a:gd name="T63" fmla="*/ 35 h 40"/>
                <a:gd name="T64" fmla="*/ 14 w 40"/>
                <a:gd name="T65" fmla="*/ 38 h 40"/>
                <a:gd name="T66" fmla="*/ 16 w 40"/>
                <a:gd name="T67" fmla="*/ 40 h 40"/>
                <a:gd name="T68" fmla="*/ 24 w 40"/>
                <a:gd name="T69" fmla="*/ 40 h 40"/>
                <a:gd name="T70" fmla="*/ 26 w 40"/>
                <a:gd name="T71" fmla="*/ 38 h 40"/>
                <a:gd name="T72" fmla="*/ 26 w 40"/>
                <a:gd name="T73" fmla="*/ 35 h 40"/>
                <a:gd name="T74" fmla="*/ 30 w 40"/>
                <a:gd name="T75" fmla="*/ 33 h 40"/>
                <a:gd name="T76" fmla="*/ 33 w 40"/>
                <a:gd name="T77" fmla="*/ 34 h 40"/>
                <a:gd name="T78" fmla="*/ 34 w 40"/>
                <a:gd name="T79" fmla="*/ 34 h 40"/>
                <a:gd name="T80" fmla="*/ 35 w 40"/>
                <a:gd name="T81" fmla="*/ 33 h 40"/>
                <a:gd name="T82" fmla="*/ 39 w 40"/>
                <a:gd name="T83" fmla="*/ 27 h 40"/>
                <a:gd name="T84" fmla="*/ 39 w 40"/>
                <a:gd name="T85" fmla="*/ 24 h 40"/>
                <a:gd name="T86" fmla="*/ 20 w 40"/>
                <a:gd name="T87" fmla="*/ 28 h 40"/>
                <a:gd name="T88" fmla="*/ 12 w 40"/>
                <a:gd name="T89" fmla="*/ 20 h 40"/>
                <a:gd name="T90" fmla="*/ 20 w 40"/>
                <a:gd name="T91" fmla="*/ 12 h 40"/>
                <a:gd name="T92" fmla="*/ 28 w 40"/>
                <a:gd name="T93" fmla="*/ 20 h 40"/>
                <a:gd name="T94" fmla="*/ 20 w 40"/>
                <a:gd name="T95" fmla="*/ 2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0" h="40">
                  <a:moveTo>
                    <a:pt x="39" y="24"/>
                  </a:moveTo>
                  <a:cubicBezTo>
                    <a:pt x="36" y="22"/>
                    <a:pt x="36" y="22"/>
                    <a:pt x="36" y="22"/>
                  </a:cubicBezTo>
                  <a:cubicBezTo>
                    <a:pt x="36" y="21"/>
                    <a:pt x="36" y="21"/>
                    <a:pt x="36" y="20"/>
                  </a:cubicBezTo>
                  <a:cubicBezTo>
                    <a:pt x="36" y="19"/>
                    <a:pt x="36" y="19"/>
                    <a:pt x="36" y="18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16"/>
                    <a:pt x="40" y="14"/>
                    <a:pt x="39" y="13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6"/>
                    <a:pt x="35" y="6"/>
                    <a:pt x="34" y="6"/>
                  </a:cubicBezTo>
                  <a:cubicBezTo>
                    <a:pt x="34" y="5"/>
                    <a:pt x="33" y="6"/>
                    <a:pt x="33" y="6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29" y="6"/>
                    <a:pt x="28" y="6"/>
                    <a:pt x="26" y="5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1"/>
                    <a:pt x="25" y="0"/>
                    <a:pt x="2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5" y="0"/>
                    <a:pt x="14" y="1"/>
                    <a:pt x="14" y="2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3" y="6"/>
                    <a:pt x="12" y="7"/>
                    <a:pt x="10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5"/>
                    <a:pt x="5" y="6"/>
                    <a:pt x="5" y="7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4"/>
                    <a:pt x="0" y="14"/>
                    <a:pt x="1" y="15"/>
                  </a:cubicBezTo>
                  <a:cubicBezTo>
                    <a:pt x="1" y="15"/>
                    <a:pt x="1" y="16"/>
                    <a:pt x="1" y="16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9"/>
                    <a:pt x="4" y="19"/>
                    <a:pt x="4" y="20"/>
                  </a:cubicBezTo>
                  <a:cubicBezTo>
                    <a:pt x="4" y="21"/>
                    <a:pt x="4" y="21"/>
                    <a:pt x="4" y="22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5"/>
                    <a:pt x="1" y="25"/>
                  </a:cubicBezTo>
                  <a:cubicBezTo>
                    <a:pt x="0" y="26"/>
                    <a:pt x="0" y="26"/>
                    <a:pt x="1" y="27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4"/>
                    <a:pt x="6" y="35"/>
                    <a:pt x="7" y="34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2" y="33"/>
                    <a:pt x="13" y="34"/>
                    <a:pt x="14" y="35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9"/>
                    <a:pt x="15" y="40"/>
                    <a:pt x="16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5" y="40"/>
                    <a:pt x="26" y="39"/>
                    <a:pt x="26" y="38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8" y="34"/>
                    <a:pt x="29" y="34"/>
                    <a:pt x="30" y="33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4"/>
                    <a:pt x="34" y="35"/>
                    <a:pt x="34" y="34"/>
                  </a:cubicBezTo>
                  <a:cubicBezTo>
                    <a:pt x="35" y="34"/>
                    <a:pt x="35" y="34"/>
                    <a:pt x="35" y="33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40" y="26"/>
                    <a:pt x="40" y="24"/>
                    <a:pt x="39" y="24"/>
                  </a:cubicBezTo>
                  <a:close/>
                  <a:moveTo>
                    <a:pt x="20" y="28"/>
                  </a:moveTo>
                  <a:cubicBezTo>
                    <a:pt x="16" y="28"/>
                    <a:pt x="12" y="24"/>
                    <a:pt x="12" y="20"/>
                  </a:cubicBezTo>
                  <a:cubicBezTo>
                    <a:pt x="12" y="16"/>
                    <a:pt x="16" y="12"/>
                    <a:pt x="20" y="12"/>
                  </a:cubicBezTo>
                  <a:cubicBezTo>
                    <a:pt x="24" y="12"/>
                    <a:pt x="28" y="16"/>
                    <a:pt x="28" y="20"/>
                  </a:cubicBezTo>
                  <a:cubicBezTo>
                    <a:pt x="28" y="24"/>
                    <a:pt x="24" y="28"/>
                    <a:pt x="2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9460B764-C0CE-4390-B1F3-418452D779B4}"/>
              </a:ext>
            </a:extLst>
          </p:cNvPr>
          <p:cNvGrpSpPr/>
          <p:nvPr/>
        </p:nvGrpSpPr>
        <p:grpSpPr>
          <a:xfrm>
            <a:off x="4402227" y="3292945"/>
            <a:ext cx="270915" cy="272109"/>
            <a:chOff x="7718425" y="3248025"/>
            <a:chExt cx="360363" cy="361951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4" name="Freeform 63">
              <a:extLst>
                <a:ext uri="{FF2B5EF4-FFF2-40B4-BE49-F238E27FC236}">
                  <a16:creationId xmlns:a16="http://schemas.microsoft.com/office/drawing/2014/main" id="{F5B6A6F0-7044-4B52-A28C-88F56941E4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425" y="3248025"/>
              <a:ext cx="360363" cy="331788"/>
            </a:xfrm>
            <a:custGeom>
              <a:avLst/>
              <a:gdLst>
                <a:gd name="T0" fmla="*/ 20 w 96"/>
                <a:gd name="T1" fmla="*/ 88 h 88"/>
                <a:gd name="T2" fmla="*/ 8 w 96"/>
                <a:gd name="T3" fmla="*/ 75 h 88"/>
                <a:gd name="T4" fmla="*/ 17 w 96"/>
                <a:gd name="T5" fmla="*/ 65 h 88"/>
                <a:gd name="T6" fmla="*/ 2 w 96"/>
                <a:gd name="T7" fmla="*/ 56 h 88"/>
                <a:gd name="T8" fmla="*/ 0 w 96"/>
                <a:gd name="T9" fmla="*/ 42 h 88"/>
                <a:gd name="T10" fmla="*/ 13 w 96"/>
                <a:gd name="T11" fmla="*/ 40 h 88"/>
                <a:gd name="T12" fmla="*/ 8 w 96"/>
                <a:gd name="T13" fmla="*/ 23 h 88"/>
                <a:gd name="T14" fmla="*/ 8 w 96"/>
                <a:gd name="T15" fmla="*/ 20 h 88"/>
                <a:gd name="T16" fmla="*/ 23 w 96"/>
                <a:gd name="T17" fmla="*/ 8 h 88"/>
                <a:gd name="T18" fmla="*/ 40 w 96"/>
                <a:gd name="T19" fmla="*/ 13 h 88"/>
                <a:gd name="T20" fmla="*/ 42 w 96"/>
                <a:gd name="T21" fmla="*/ 0 h 88"/>
                <a:gd name="T22" fmla="*/ 56 w 96"/>
                <a:gd name="T23" fmla="*/ 2 h 88"/>
                <a:gd name="T24" fmla="*/ 65 w 96"/>
                <a:gd name="T25" fmla="*/ 17 h 88"/>
                <a:gd name="T26" fmla="*/ 76 w 96"/>
                <a:gd name="T27" fmla="*/ 8 h 88"/>
                <a:gd name="T28" fmla="*/ 88 w 96"/>
                <a:gd name="T29" fmla="*/ 21 h 88"/>
                <a:gd name="T30" fmla="*/ 79 w 96"/>
                <a:gd name="T31" fmla="*/ 31 h 88"/>
                <a:gd name="T32" fmla="*/ 94 w 96"/>
                <a:gd name="T33" fmla="*/ 40 h 88"/>
                <a:gd name="T34" fmla="*/ 96 w 96"/>
                <a:gd name="T35" fmla="*/ 54 h 88"/>
                <a:gd name="T36" fmla="*/ 83 w 96"/>
                <a:gd name="T37" fmla="*/ 56 h 88"/>
                <a:gd name="T38" fmla="*/ 88 w 96"/>
                <a:gd name="T39" fmla="*/ 73 h 88"/>
                <a:gd name="T40" fmla="*/ 76 w 96"/>
                <a:gd name="T41" fmla="*/ 88 h 88"/>
                <a:gd name="T42" fmla="*/ 64 w 96"/>
                <a:gd name="T43" fmla="*/ 78 h 88"/>
                <a:gd name="T44" fmla="*/ 67 w 96"/>
                <a:gd name="T45" fmla="*/ 76 h 88"/>
                <a:gd name="T46" fmla="*/ 83 w 96"/>
                <a:gd name="T47" fmla="*/ 75 h 88"/>
                <a:gd name="T48" fmla="*/ 75 w 96"/>
                <a:gd name="T49" fmla="*/ 65 h 88"/>
                <a:gd name="T50" fmla="*/ 81 w 96"/>
                <a:gd name="T51" fmla="*/ 52 h 88"/>
                <a:gd name="T52" fmla="*/ 92 w 96"/>
                <a:gd name="T53" fmla="*/ 44 h 88"/>
                <a:gd name="T54" fmla="*/ 79 w 96"/>
                <a:gd name="T55" fmla="*/ 42 h 88"/>
                <a:gd name="T56" fmla="*/ 76 w 96"/>
                <a:gd name="T57" fmla="*/ 29 h 88"/>
                <a:gd name="T58" fmla="*/ 75 w 96"/>
                <a:gd name="T59" fmla="*/ 13 h 88"/>
                <a:gd name="T60" fmla="*/ 65 w 96"/>
                <a:gd name="T61" fmla="*/ 21 h 88"/>
                <a:gd name="T62" fmla="*/ 52 w 96"/>
                <a:gd name="T63" fmla="*/ 15 h 88"/>
                <a:gd name="T64" fmla="*/ 44 w 96"/>
                <a:gd name="T65" fmla="*/ 4 h 88"/>
                <a:gd name="T66" fmla="*/ 42 w 96"/>
                <a:gd name="T67" fmla="*/ 17 h 88"/>
                <a:gd name="T68" fmla="*/ 29 w 96"/>
                <a:gd name="T69" fmla="*/ 20 h 88"/>
                <a:gd name="T70" fmla="*/ 13 w 96"/>
                <a:gd name="T71" fmla="*/ 21 h 88"/>
                <a:gd name="T72" fmla="*/ 21 w 96"/>
                <a:gd name="T73" fmla="*/ 31 h 88"/>
                <a:gd name="T74" fmla="*/ 15 w 96"/>
                <a:gd name="T75" fmla="*/ 44 h 88"/>
                <a:gd name="T76" fmla="*/ 4 w 96"/>
                <a:gd name="T77" fmla="*/ 52 h 88"/>
                <a:gd name="T78" fmla="*/ 17 w 96"/>
                <a:gd name="T79" fmla="*/ 54 h 88"/>
                <a:gd name="T80" fmla="*/ 20 w 96"/>
                <a:gd name="T81" fmla="*/ 67 h 88"/>
                <a:gd name="T82" fmla="*/ 21 w 96"/>
                <a:gd name="T83" fmla="*/ 83 h 88"/>
                <a:gd name="T84" fmla="*/ 32 w 96"/>
                <a:gd name="T85" fmla="*/ 76 h 88"/>
                <a:gd name="T86" fmla="*/ 23 w 96"/>
                <a:gd name="T8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" h="88">
                  <a:moveTo>
                    <a:pt x="21" y="88"/>
                  </a:moveTo>
                  <a:cubicBezTo>
                    <a:pt x="21" y="88"/>
                    <a:pt x="20" y="88"/>
                    <a:pt x="20" y="88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76"/>
                    <a:pt x="8" y="75"/>
                    <a:pt x="8" y="75"/>
                  </a:cubicBezTo>
                  <a:cubicBezTo>
                    <a:pt x="8" y="74"/>
                    <a:pt x="8" y="74"/>
                    <a:pt x="8" y="73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5" y="63"/>
                    <a:pt x="14" y="59"/>
                    <a:pt x="13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1" y="56"/>
                    <a:pt x="0" y="55"/>
                    <a:pt x="0" y="5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1"/>
                    <a:pt x="1" y="40"/>
                    <a:pt x="2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7"/>
                    <a:pt x="15" y="33"/>
                    <a:pt x="17" y="31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2"/>
                    <a:pt x="8" y="22"/>
                    <a:pt x="8" y="21"/>
                  </a:cubicBezTo>
                  <a:cubicBezTo>
                    <a:pt x="8" y="21"/>
                    <a:pt x="8" y="20"/>
                    <a:pt x="8" y="20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2" y="8"/>
                    <a:pt x="23" y="8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3" y="15"/>
                    <a:pt x="37" y="14"/>
                    <a:pt x="40" y="13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41" y="0"/>
                    <a:pt x="42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1"/>
                    <a:pt x="56" y="2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9" y="14"/>
                    <a:pt x="63" y="15"/>
                    <a:pt x="65" y="17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4" y="8"/>
                    <a:pt x="75" y="8"/>
                    <a:pt x="76" y="8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1"/>
                    <a:pt x="88" y="21"/>
                  </a:cubicBezTo>
                  <a:cubicBezTo>
                    <a:pt x="88" y="22"/>
                    <a:pt x="88" y="22"/>
                    <a:pt x="88" y="23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81" y="33"/>
                    <a:pt x="82" y="37"/>
                    <a:pt x="83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5" y="40"/>
                    <a:pt x="96" y="41"/>
                    <a:pt x="96" y="42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5"/>
                    <a:pt x="95" y="56"/>
                    <a:pt x="94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2" y="59"/>
                    <a:pt x="81" y="63"/>
                    <a:pt x="79" y="65"/>
                  </a:cubicBezTo>
                  <a:cubicBezTo>
                    <a:pt x="88" y="73"/>
                    <a:pt x="88" y="73"/>
                    <a:pt x="88" y="73"/>
                  </a:cubicBezTo>
                  <a:cubicBezTo>
                    <a:pt x="88" y="74"/>
                    <a:pt x="88" y="76"/>
                    <a:pt x="88" y="76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4" y="88"/>
                    <a:pt x="73" y="88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3" y="78"/>
                    <a:pt x="63" y="76"/>
                    <a:pt x="64" y="76"/>
                  </a:cubicBezTo>
                  <a:cubicBezTo>
                    <a:pt x="65" y="75"/>
                    <a:pt x="66" y="75"/>
                    <a:pt x="67" y="76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5" y="66"/>
                    <a:pt x="75" y="65"/>
                    <a:pt x="75" y="65"/>
                  </a:cubicBezTo>
                  <a:cubicBezTo>
                    <a:pt x="77" y="62"/>
                    <a:pt x="79" y="56"/>
                    <a:pt x="79" y="54"/>
                  </a:cubicBezTo>
                  <a:cubicBezTo>
                    <a:pt x="79" y="53"/>
                    <a:pt x="80" y="52"/>
                    <a:pt x="81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0" y="44"/>
                    <a:pt x="79" y="43"/>
                    <a:pt x="79" y="42"/>
                  </a:cubicBezTo>
                  <a:cubicBezTo>
                    <a:pt x="79" y="40"/>
                    <a:pt x="77" y="34"/>
                    <a:pt x="75" y="31"/>
                  </a:cubicBezTo>
                  <a:cubicBezTo>
                    <a:pt x="75" y="31"/>
                    <a:pt x="75" y="30"/>
                    <a:pt x="76" y="29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6" y="21"/>
                    <a:pt x="65" y="21"/>
                    <a:pt x="65" y="21"/>
                  </a:cubicBezTo>
                  <a:cubicBezTo>
                    <a:pt x="62" y="19"/>
                    <a:pt x="57" y="18"/>
                    <a:pt x="54" y="17"/>
                  </a:cubicBezTo>
                  <a:cubicBezTo>
                    <a:pt x="53" y="17"/>
                    <a:pt x="52" y="16"/>
                    <a:pt x="52" y="15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6"/>
                    <a:pt x="43" y="17"/>
                    <a:pt x="42" y="17"/>
                  </a:cubicBezTo>
                  <a:cubicBezTo>
                    <a:pt x="39" y="18"/>
                    <a:pt x="34" y="19"/>
                    <a:pt x="31" y="21"/>
                  </a:cubicBezTo>
                  <a:cubicBezTo>
                    <a:pt x="31" y="21"/>
                    <a:pt x="30" y="21"/>
                    <a:pt x="29" y="20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1" y="30"/>
                    <a:pt x="21" y="31"/>
                    <a:pt x="21" y="31"/>
                  </a:cubicBezTo>
                  <a:cubicBezTo>
                    <a:pt x="19" y="34"/>
                    <a:pt x="17" y="40"/>
                    <a:pt x="17" y="42"/>
                  </a:cubicBezTo>
                  <a:cubicBezTo>
                    <a:pt x="17" y="43"/>
                    <a:pt x="16" y="44"/>
                    <a:pt x="15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6" y="52"/>
                    <a:pt x="17" y="53"/>
                    <a:pt x="17" y="54"/>
                  </a:cubicBezTo>
                  <a:cubicBezTo>
                    <a:pt x="17" y="56"/>
                    <a:pt x="19" y="62"/>
                    <a:pt x="21" y="65"/>
                  </a:cubicBezTo>
                  <a:cubicBezTo>
                    <a:pt x="21" y="65"/>
                    <a:pt x="21" y="66"/>
                    <a:pt x="20" y="67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30" y="75"/>
                    <a:pt x="31" y="75"/>
                    <a:pt x="32" y="76"/>
                  </a:cubicBezTo>
                  <a:cubicBezTo>
                    <a:pt x="33" y="76"/>
                    <a:pt x="33" y="78"/>
                    <a:pt x="32" y="7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5" name="Freeform 64">
              <a:extLst>
                <a:ext uri="{FF2B5EF4-FFF2-40B4-BE49-F238E27FC236}">
                  <a16:creationId xmlns:a16="http://schemas.microsoft.com/office/drawing/2014/main" id="{21C9DDD7-97D9-49EA-91BD-4C34A33A5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49650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6" name="Freeform 65">
              <a:extLst>
                <a:ext uri="{FF2B5EF4-FFF2-40B4-BE49-F238E27FC236}">
                  <a16:creationId xmlns:a16="http://schemas.microsoft.com/office/drawing/2014/main" id="{DE0267F9-38FD-4E2D-B02D-DCE059819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79813"/>
              <a:ext cx="60325" cy="30163"/>
            </a:xfrm>
            <a:custGeom>
              <a:avLst/>
              <a:gdLst>
                <a:gd name="T0" fmla="*/ 14 w 16"/>
                <a:gd name="T1" fmla="*/ 0 h 8"/>
                <a:gd name="T2" fmla="*/ 2 w 16"/>
                <a:gd name="T3" fmla="*/ 0 h 8"/>
                <a:gd name="T4" fmla="*/ 0 w 16"/>
                <a:gd name="T5" fmla="*/ 2 h 8"/>
                <a:gd name="T6" fmla="*/ 2 w 16"/>
                <a:gd name="T7" fmla="*/ 4 h 8"/>
                <a:gd name="T8" fmla="*/ 6 w 16"/>
                <a:gd name="T9" fmla="*/ 4 h 8"/>
                <a:gd name="T10" fmla="*/ 6 w 16"/>
                <a:gd name="T11" fmla="*/ 6 h 8"/>
                <a:gd name="T12" fmla="*/ 8 w 16"/>
                <a:gd name="T13" fmla="*/ 8 h 8"/>
                <a:gd name="T14" fmla="*/ 10 w 16"/>
                <a:gd name="T15" fmla="*/ 6 h 8"/>
                <a:gd name="T16" fmla="*/ 10 w 16"/>
                <a:gd name="T17" fmla="*/ 4 h 8"/>
                <a:gd name="T18" fmla="*/ 14 w 16"/>
                <a:gd name="T19" fmla="*/ 4 h 8"/>
                <a:gd name="T20" fmla="*/ 16 w 16"/>
                <a:gd name="T21" fmla="*/ 2 h 8"/>
                <a:gd name="T22" fmla="*/ 14 w 16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8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"/>
                    <a:pt x="7" y="8"/>
                    <a:pt x="8" y="8"/>
                  </a:cubicBezTo>
                  <a:cubicBezTo>
                    <a:pt x="9" y="8"/>
                    <a:pt x="10" y="7"/>
                    <a:pt x="10" y="6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7" name="Freeform 66">
              <a:extLst>
                <a:ext uri="{FF2B5EF4-FFF2-40B4-BE49-F238E27FC236}">
                  <a16:creationId xmlns:a16="http://schemas.microsoft.com/office/drawing/2014/main" id="{68D5953F-8F96-44A1-8FFD-87A06FC65A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738" y="3338513"/>
              <a:ext cx="187325" cy="196850"/>
            </a:xfrm>
            <a:custGeom>
              <a:avLst/>
              <a:gdLst>
                <a:gd name="T0" fmla="*/ 25 w 50"/>
                <a:gd name="T1" fmla="*/ 0 h 52"/>
                <a:gd name="T2" fmla="*/ 0 w 50"/>
                <a:gd name="T3" fmla="*/ 24 h 52"/>
                <a:gd name="T4" fmla="*/ 17 w 50"/>
                <a:gd name="T5" fmla="*/ 47 h 52"/>
                <a:gd name="T6" fmla="*/ 17 w 50"/>
                <a:gd name="T7" fmla="*/ 50 h 52"/>
                <a:gd name="T8" fmla="*/ 19 w 50"/>
                <a:gd name="T9" fmla="*/ 52 h 52"/>
                <a:gd name="T10" fmla="*/ 31 w 50"/>
                <a:gd name="T11" fmla="*/ 52 h 52"/>
                <a:gd name="T12" fmla="*/ 33 w 50"/>
                <a:gd name="T13" fmla="*/ 50 h 52"/>
                <a:gd name="T14" fmla="*/ 33 w 50"/>
                <a:gd name="T15" fmla="*/ 47 h 52"/>
                <a:gd name="T16" fmla="*/ 50 w 50"/>
                <a:gd name="T17" fmla="*/ 24 h 52"/>
                <a:gd name="T18" fmla="*/ 25 w 50"/>
                <a:gd name="T1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2">
                  <a:moveTo>
                    <a:pt x="25" y="0"/>
                  </a:moveTo>
                  <a:cubicBezTo>
                    <a:pt x="11" y="0"/>
                    <a:pt x="0" y="11"/>
                    <a:pt x="0" y="24"/>
                  </a:cubicBezTo>
                  <a:cubicBezTo>
                    <a:pt x="0" y="34"/>
                    <a:pt x="7" y="43"/>
                    <a:pt x="17" y="47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51"/>
                    <a:pt x="18" y="52"/>
                    <a:pt x="19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2"/>
                    <a:pt x="33" y="51"/>
                    <a:pt x="33" y="50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43" y="43"/>
                    <a:pt x="50" y="34"/>
                    <a:pt x="50" y="24"/>
                  </a:cubicBezTo>
                  <a:cubicBezTo>
                    <a:pt x="50" y="11"/>
                    <a:pt x="39" y="0"/>
                    <a:pt x="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E1BA3DBD-346F-43A9-9E09-792A95190D65}"/>
              </a:ext>
            </a:extLst>
          </p:cNvPr>
          <p:cNvGrpSpPr/>
          <p:nvPr/>
        </p:nvGrpSpPr>
        <p:grpSpPr>
          <a:xfrm>
            <a:off x="4402227" y="5610801"/>
            <a:ext cx="270915" cy="158730"/>
            <a:chOff x="4113213" y="4046538"/>
            <a:chExt cx="360363" cy="211138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9" name="Freeform 84">
              <a:extLst>
                <a:ext uri="{FF2B5EF4-FFF2-40B4-BE49-F238E27FC236}">
                  <a16:creationId xmlns:a16="http://schemas.microsoft.com/office/drawing/2014/main" id="{4329806E-79BB-40A5-BAB0-8ABDBDC233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40213" y="4098925"/>
              <a:ext cx="104775" cy="104775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4 h 28"/>
                <a:gd name="T4" fmla="*/ 14 w 28"/>
                <a:gd name="T5" fmla="*/ 0 h 28"/>
                <a:gd name="T6" fmla="*/ 0 w 28"/>
                <a:gd name="T7" fmla="*/ 14 h 28"/>
                <a:gd name="T8" fmla="*/ 14 w 28"/>
                <a:gd name="T9" fmla="*/ 28 h 28"/>
                <a:gd name="T10" fmla="*/ 6 w 28"/>
                <a:gd name="T11" fmla="*/ 12 h 28"/>
                <a:gd name="T12" fmla="*/ 8 w 28"/>
                <a:gd name="T13" fmla="*/ 14 h 28"/>
                <a:gd name="T14" fmla="*/ 14 w 28"/>
                <a:gd name="T15" fmla="*/ 20 h 28"/>
                <a:gd name="T16" fmla="*/ 20 w 28"/>
                <a:gd name="T17" fmla="*/ 14 h 28"/>
                <a:gd name="T18" fmla="*/ 14 w 28"/>
                <a:gd name="T19" fmla="*/ 8 h 28"/>
                <a:gd name="T20" fmla="*/ 12 w 28"/>
                <a:gd name="T21" fmla="*/ 6 h 28"/>
                <a:gd name="T22" fmla="*/ 14 w 28"/>
                <a:gd name="T23" fmla="*/ 4 h 28"/>
                <a:gd name="T24" fmla="*/ 24 w 28"/>
                <a:gd name="T25" fmla="*/ 14 h 28"/>
                <a:gd name="T26" fmla="*/ 14 w 28"/>
                <a:gd name="T27" fmla="*/ 24 h 28"/>
                <a:gd name="T28" fmla="*/ 4 w 28"/>
                <a:gd name="T29" fmla="*/ 14 h 28"/>
                <a:gd name="T30" fmla="*/ 6 w 28"/>
                <a:gd name="T31" fmla="*/ 1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8"/>
                    <a:pt x="14" y="28"/>
                  </a:cubicBezTo>
                  <a:close/>
                  <a:moveTo>
                    <a:pt x="6" y="12"/>
                  </a:moveTo>
                  <a:cubicBezTo>
                    <a:pt x="7" y="12"/>
                    <a:pt x="8" y="13"/>
                    <a:pt x="8" y="14"/>
                  </a:cubicBezTo>
                  <a:cubicBezTo>
                    <a:pt x="8" y="17"/>
                    <a:pt x="11" y="20"/>
                    <a:pt x="14" y="20"/>
                  </a:cubicBezTo>
                  <a:cubicBezTo>
                    <a:pt x="17" y="20"/>
                    <a:pt x="20" y="17"/>
                    <a:pt x="20" y="14"/>
                  </a:cubicBezTo>
                  <a:cubicBezTo>
                    <a:pt x="20" y="11"/>
                    <a:pt x="17" y="8"/>
                    <a:pt x="14" y="8"/>
                  </a:cubicBezTo>
                  <a:cubicBezTo>
                    <a:pt x="13" y="8"/>
                    <a:pt x="12" y="7"/>
                    <a:pt x="12" y="6"/>
                  </a:cubicBezTo>
                  <a:cubicBezTo>
                    <a:pt x="12" y="5"/>
                    <a:pt x="13" y="4"/>
                    <a:pt x="14" y="4"/>
                  </a:cubicBezTo>
                  <a:cubicBezTo>
                    <a:pt x="20" y="4"/>
                    <a:pt x="24" y="8"/>
                    <a:pt x="24" y="14"/>
                  </a:cubicBezTo>
                  <a:cubicBezTo>
                    <a:pt x="24" y="20"/>
                    <a:pt x="20" y="24"/>
                    <a:pt x="14" y="24"/>
                  </a:cubicBezTo>
                  <a:cubicBezTo>
                    <a:pt x="8" y="24"/>
                    <a:pt x="4" y="20"/>
                    <a:pt x="4" y="14"/>
                  </a:cubicBezTo>
                  <a:cubicBezTo>
                    <a:pt x="4" y="13"/>
                    <a:pt x="5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0" name="Freeform 85">
              <a:extLst>
                <a:ext uri="{FF2B5EF4-FFF2-40B4-BE49-F238E27FC236}">
                  <a16:creationId xmlns:a16="http://schemas.microsoft.com/office/drawing/2014/main" id="{0C8A0191-F69A-4BEB-ACEA-9E897A8A34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3213" y="4046538"/>
              <a:ext cx="360363" cy="211138"/>
            </a:xfrm>
            <a:custGeom>
              <a:avLst/>
              <a:gdLst>
                <a:gd name="T0" fmla="*/ 0 w 96"/>
                <a:gd name="T1" fmla="*/ 29 h 56"/>
                <a:gd name="T2" fmla="*/ 48 w 96"/>
                <a:gd name="T3" fmla="*/ 56 h 56"/>
                <a:gd name="T4" fmla="*/ 96 w 96"/>
                <a:gd name="T5" fmla="*/ 29 h 56"/>
                <a:gd name="T6" fmla="*/ 96 w 96"/>
                <a:gd name="T7" fmla="*/ 27 h 56"/>
                <a:gd name="T8" fmla="*/ 48 w 96"/>
                <a:gd name="T9" fmla="*/ 0 h 56"/>
                <a:gd name="T10" fmla="*/ 0 w 96"/>
                <a:gd name="T11" fmla="*/ 27 h 56"/>
                <a:gd name="T12" fmla="*/ 0 w 96"/>
                <a:gd name="T13" fmla="*/ 29 h 56"/>
                <a:gd name="T14" fmla="*/ 48 w 96"/>
                <a:gd name="T15" fmla="*/ 10 h 56"/>
                <a:gd name="T16" fmla="*/ 66 w 96"/>
                <a:gd name="T17" fmla="*/ 28 h 56"/>
                <a:gd name="T18" fmla="*/ 48 w 96"/>
                <a:gd name="T19" fmla="*/ 46 h 56"/>
                <a:gd name="T20" fmla="*/ 30 w 96"/>
                <a:gd name="T21" fmla="*/ 28 h 56"/>
                <a:gd name="T22" fmla="*/ 48 w 96"/>
                <a:gd name="T23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56">
                  <a:moveTo>
                    <a:pt x="0" y="29"/>
                  </a:moveTo>
                  <a:cubicBezTo>
                    <a:pt x="1" y="30"/>
                    <a:pt x="22" y="56"/>
                    <a:pt x="48" y="56"/>
                  </a:cubicBezTo>
                  <a:cubicBezTo>
                    <a:pt x="74" y="56"/>
                    <a:pt x="95" y="30"/>
                    <a:pt x="96" y="29"/>
                  </a:cubicBezTo>
                  <a:cubicBezTo>
                    <a:pt x="96" y="29"/>
                    <a:pt x="96" y="27"/>
                    <a:pt x="96" y="27"/>
                  </a:cubicBezTo>
                  <a:cubicBezTo>
                    <a:pt x="95" y="26"/>
                    <a:pt x="74" y="0"/>
                    <a:pt x="48" y="0"/>
                  </a:cubicBezTo>
                  <a:cubicBezTo>
                    <a:pt x="22" y="0"/>
                    <a:pt x="1" y="26"/>
                    <a:pt x="0" y="27"/>
                  </a:cubicBezTo>
                  <a:cubicBezTo>
                    <a:pt x="0" y="27"/>
                    <a:pt x="0" y="29"/>
                    <a:pt x="0" y="29"/>
                  </a:cubicBezTo>
                  <a:close/>
                  <a:moveTo>
                    <a:pt x="48" y="10"/>
                  </a:moveTo>
                  <a:cubicBezTo>
                    <a:pt x="58" y="10"/>
                    <a:pt x="66" y="18"/>
                    <a:pt x="66" y="28"/>
                  </a:cubicBezTo>
                  <a:cubicBezTo>
                    <a:pt x="66" y="38"/>
                    <a:pt x="58" y="46"/>
                    <a:pt x="48" y="46"/>
                  </a:cubicBezTo>
                  <a:cubicBezTo>
                    <a:pt x="38" y="46"/>
                    <a:pt x="30" y="38"/>
                    <a:pt x="30" y="28"/>
                  </a:cubicBezTo>
                  <a:cubicBezTo>
                    <a:pt x="30" y="18"/>
                    <a:pt x="38" y="10"/>
                    <a:pt x="4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364428C1-F56B-444A-988C-BBDEB437F803}"/>
              </a:ext>
            </a:extLst>
          </p:cNvPr>
          <p:cNvGrpSpPr/>
          <p:nvPr/>
        </p:nvGrpSpPr>
        <p:grpSpPr>
          <a:xfrm>
            <a:off x="4414758" y="2162958"/>
            <a:ext cx="245852" cy="270914"/>
            <a:chOff x="6291263" y="5054601"/>
            <a:chExt cx="327025" cy="360363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2" name="Freeform 179">
              <a:extLst>
                <a:ext uri="{FF2B5EF4-FFF2-40B4-BE49-F238E27FC236}">
                  <a16:creationId xmlns:a16="http://schemas.microsoft.com/office/drawing/2014/main" id="{6608D0C7-A49B-4C9C-9F5C-BFF491B1B2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91263" y="5054601"/>
              <a:ext cx="327025" cy="360363"/>
            </a:xfrm>
            <a:custGeom>
              <a:avLst/>
              <a:gdLst>
                <a:gd name="T0" fmla="*/ 81 w 87"/>
                <a:gd name="T1" fmla="*/ 39 h 96"/>
                <a:gd name="T2" fmla="*/ 78 w 87"/>
                <a:gd name="T3" fmla="*/ 34 h 96"/>
                <a:gd name="T4" fmla="*/ 40 w 87"/>
                <a:gd name="T5" fmla="*/ 0 h 96"/>
                <a:gd name="T6" fmla="*/ 0 w 87"/>
                <a:gd name="T7" fmla="*/ 40 h 96"/>
                <a:gd name="T8" fmla="*/ 16 w 87"/>
                <a:gd name="T9" fmla="*/ 72 h 96"/>
                <a:gd name="T10" fmla="*/ 16 w 87"/>
                <a:gd name="T11" fmla="*/ 94 h 96"/>
                <a:gd name="T12" fmla="*/ 18 w 87"/>
                <a:gd name="T13" fmla="*/ 96 h 96"/>
                <a:gd name="T14" fmla="*/ 58 w 87"/>
                <a:gd name="T15" fmla="*/ 96 h 96"/>
                <a:gd name="T16" fmla="*/ 60 w 87"/>
                <a:gd name="T17" fmla="*/ 94 h 96"/>
                <a:gd name="T18" fmla="*/ 60 w 87"/>
                <a:gd name="T19" fmla="*/ 82 h 96"/>
                <a:gd name="T20" fmla="*/ 74 w 87"/>
                <a:gd name="T21" fmla="*/ 78 h 96"/>
                <a:gd name="T22" fmla="*/ 78 w 87"/>
                <a:gd name="T23" fmla="*/ 60 h 96"/>
                <a:gd name="T24" fmla="*/ 82 w 87"/>
                <a:gd name="T25" fmla="*/ 60 h 96"/>
                <a:gd name="T26" fmla="*/ 86 w 87"/>
                <a:gd name="T27" fmla="*/ 58 h 96"/>
                <a:gd name="T28" fmla="*/ 87 w 87"/>
                <a:gd name="T29" fmla="*/ 55 h 96"/>
                <a:gd name="T30" fmla="*/ 87 w 87"/>
                <a:gd name="T31" fmla="*/ 54 h 96"/>
                <a:gd name="T32" fmla="*/ 81 w 87"/>
                <a:gd name="T33" fmla="*/ 39 h 96"/>
                <a:gd name="T34" fmla="*/ 64 w 87"/>
                <a:gd name="T35" fmla="*/ 62 h 96"/>
                <a:gd name="T36" fmla="*/ 62 w 87"/>
                <a:gd name="T37" fmla="*/ 64 h 96"/>
                <a:gd name="T38" fmla="*/ 22 w 87"/>
                <a:gd name="T39" fmla="*/ 64 h 96"/>
                <a:gd name="T40" fmla="*/ 20 w 87"/>
                <a:gd name="T41" fmla="*/ 62 h 96"/>
                <a:gd name="T42" fmla="*/ 20 w 87"/>
                <a:gd name="T43" fmla="*/ 22 h 96"/>
                <a:gd name="T44" fmla="*/ 22 w 87"/>
                <a:gd name="T45" fmla="*/ 20 h 96"/>
                <a:gd name="T46" fmla="*/ 62 w 87"/>
                <a:gd name="T47" fmla="*/ 20 h 96"/>
                <a:gd name="T48" fmla="*/ 64 w 87"/>
                <a:gd name="T49" fmla="*/ 22 h 96"/>
                <a:gd name="T50" fmla="*/ 64 w 87"/>
                <a:gd name="T51" fmla="*/ 6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7" h="96">
                  <a:moveTo>
                    <a:pt x="81" y="39"/>
                  </a:moveTo>
                  <a:cubicBezTo>
                    <a:pt x="80" y="37"/>
                    <a:pt x="78" y="34"/>
                    <a:pt x="78" y="34"/>
                  </a:cubicBezTo>
                  <a:cubicBezTo>
                    <a:pt x="78" y="13"/>
                    <a:pt x="59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55"/>
                    <a:pt x="5" y="65"/>
                    <a:pt x="16" y="72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5"/>
                    <a:pt x="17" y="96"/>
                    <a:pt x="18" y="96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9" y="96"/>
                    <a:pt x="60" y="95"/>
                    <a:pt x="60" y="94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7" y="82"/>
                    <a:pt x="71" y="81"/>
                    <a:pt x="74" y="78"/>
                  </a:cubicBezTo>
                  <a:cubicBezTo>
                    <a:pt x="78" y="75"/>
                    <a:pt x="78" y="65"/>
                    <a:pt x="78" y="60"/>
                  </a:cubicBezTo>
                  <a:cubicBezTo>
                    <a:pt x="79" y="60"/>
                    <a:pt x="81" y="60"/>
                    <a:pt x="82" y="60"/>
                  </a:cubicBezTo>
                  <a:cubicBezTo>
                    <a:pt x="84" y="60"/>
                    <a:pt x="85" y="59"/>
                    <a:pt x="86" y="58"/>
                  </a:cubicBezTo>
                  <a:cubicBezTo>
                    <a:pt x="87" y="57"/>
                    <a:pt x="87" y="56"/>
                    <a:pt x="87" y="55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0"/>
                    <a:pt x="84" y="44"/>
                    <a:pt x="81" y="39"/>
                  </a:cubicBezTo>
                  <a:close/>
                  <a:moveTo>
                    <a:pt x="64" y="62"/>
                  </a:moveTo>
                  <a:cubicBezTo>
                    <a:pt x="64" y="63"/>
                    <a:pt x="63" y="64"/>
                    <a:pt x="62" y="64"/>
                  </a:cubicBezTo>
                  <a:cubicBezTo>
                    <a:pt x="22" y="64"/>
                    <a:pt x="22" y="64"/>
                    <a:pt x="22" y="64"/>
                  </a:cubicBezTo>
                  <a:cubicBezTo>
                    <a:pt x="21" y="64"/>
                    <a:pt x="20" y="63"/>
                    <a:pt x="20" y="6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1"/>
                    <a:pt x="21" y="20"/>
                    <a:pt x="22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3" y="20"/>
                    <a:pt x="64" y="21"/>
                    <a:pt x="64" y="22"/>
                  </a:cubicBezTo>
                  <a:lnTo>
                    <a:pt x="64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3" name="Freeform 180">
              <a:extLst>
                <a:ext uri="{FF2B5EF4-FFF2-40B4-BE49-F238E27FC236}">
                  <a16:creationId xmlns:a16="http://schemas.microsoft.com/office/drawing/2014/main" id="{19E7917E-48D8-489E-9121-1F46B56C98F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6200" y="5159376"/>
              <a:ext cx="76200" cy="14288"/>
            </a:xfrm>
            <a:custGeom>
              <a:avLst/>
              <a:gdLst>
                <a:gd name="T0" fmla="*/ 18 w 20"/>
                <a:gd name="T1" fmla="*/ 4 h 4"/>
                <a:gd name="T2" fmla="*/ 2 w 20"/>
                <a:gd name="T3" fmla="*/ 4 h 4"/>
                <a:gd name="T4" fmla="*/ 0 w 20"/>
                <a:gd name="T5" fmla="*/ 2 h 4"/>
                <a:gd name="T6" fmla="*/ 2 w 20"/>
                <a:gd name="T7" fmla="*/ 0 h 4"/>
                <a:gd name="T8" fmla="*/ 18 w 20"/>
                <a:gd name="T9" fmla="*/ 0 h 4"/>
                <a:gd name="T10" fmla="*/ 20 w 20"/>
                <a:gd name="T11" fmla="*/ 2 h 4"/>
                <a:gd name="T12" fmla="*/ 18 w 2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4">
                  <a:moveTo>
                    <a:pt x="1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3"/>
                    <a:pt x="19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4" name="Freeform 181">
              <a:extLst>
                <a:ext uri="{FF2B5EF4-FFF2-40B4-BE49-F238E27FC236}">
                  <a16:creationId xmlns:a16="http://schemas.microsoft.com/office/drawing/2014/main" id="{98E26379-3B4B-4F71-91CA-2BD5858DC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189538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5" name="Freeform 182">
              <a:extLst>
                <a:ext uri="{FF2B5EF4-FFF2-40B4-BE49-F238E27FC236}">
                  <a16:creationId xmlns:a16="http://schemas.microsoft.com/office/drawing/2014/main" id="{59DB5518-1CA1-435B-AB65-1EF02999DA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219701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6" name="Freeform 183">
              <a:extLst>
                <a:ext uri="{FF2B5EF4-FFF2-40B4-BE49-F238E27FC236}">
                  <a16:creationId xmlns:a16="http://schemas.microsoft.com/office/drawing/2014/main" id="{D6D140A5-836B-4855-8BAD-3DF89FD8515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249863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77" name="Group 176">
            <a:extLst>
              <a:ext uri="{FF2B5EF4-FFF2-40B4-BE49-F238E27FC236}">
                <a16:creationId xmlns:a16="http://schemas.microsoft.com/office/drawing/2014/main" id="{7CC067D1-44E1-427F-A6BC-B50D8E86FCB5}"/>
              </a:ext>
            </a:extLst>
          </p:cNvPr>
          <p:cNvGrpSpPr/>
          <p:nvPr/>
        </p:nvGrpSpPr>
        <p:grpSpPr>
          <a:xfrm>
            <a:off x="4414541" y="4433633"/>
            <a:ext cx="246286" cy="248455"/>
            <a:chOff x="4833938" y="3611563"/>
            <a:chExt cx="360363" cy="363537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8" name="Freeform 45">
              <a:extLst>
                <a:ext uri="{FF2B5EF4-FFF2-40B4-BE49-F238E27FC236}">
                  <a16:creationId xmlns:a16="http://schemas.microsoft.com/office/drawing/2014/main" id="{D2708075-BFE5-4FDD-86AA-AB21206198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4263" y="3611563"/>
              <a:ext cx="300038" cy="284163"/>
            </a:xfrm>
            <a:custGeom>
              <a:avLst/>
              <a:gdLst>
                <a:gd name="T0" fmla="*/ 8 w 80"/>
                <a:gd name="T1" fmla="*/ 62 h 75"/>
                <a:gd name="T2" fmla="*/ 17 w 80"/>
                <a:gd name="T3" fmla="*/ 62 h 75"/>
                <a:gd name="T4" fmla="*/ 32 w 80"/>
                <a:gd name="T5" fmla="*/ 68 h 75"/>
                <a:gd name="T6" fmla="*/ 36 w 80"/>
                <a:gd name="T7" fmla="*/ 74 h 75"/>
                <a:gd name="T8" fmla="*/ 57 w 80"/>
                <a:gd name="T9" fmla="*/ 74 h 75"/>
                <a:gd name="T10" fmla="*/ 59 w 80"/>
                <a:gd name="T11" fmla="*/ 75 h 75"/>
                <a:gd name="T12" fmla="*/ 80 w 80"/>
                <a:gd name="T13" fmla="*/ 40 h 75"/>
                <a:gd name="T14" fmla="*/ 40 w 80"/>
                <a:gd name="T15" fmla="*/ 0 h 75"/>
                <a:gd name="T16" fmla="*/ 0 w 80"/>
                <a:gd name="T17" fmla="*/ 40 h 75"/>
                <a:gd name="T18" fmla="*/ 7 w 80"/>
                <a:gd name="T19" fmla="*/ 62 h 75"/>
                <a:gd name="T20" fmla="*/ 8 w 80"/>
                <a:gd name="T21" fmla="*/ 62 h 75"/>
                <a:gd name="T22" fmla="*/ 36 w 80"/>
                <a:gd name="T23" fmla="*/ 20 h 75"/>
                <a:gd name="T24" fmla="*/ 38 w 80"/>
                <a:gd name="T25" fmla="*/ 18 h 75"/>
                <a:gd name="T26" fmla="*/ 40 w 80"/>
                <a:gd name="T27" fmla="*/ 20 h 75"/>
                <a:gd name="T28" fmla="*/ 40 w 80"/>
                <a:gd name="T29" fmla="*/ 40 h 75"/>
                <a:gd name="T30" fmla="*/ 58 w 80"/>
                <a:gd name="T31" fmla="*/ 40 h 75"/>
                <a:gd name="T32" fmla="*/ 60 w 80"/>
                <a:gd name="T33" fmla="*/ 42 h 75"/>
                <a:gd name="T34" fmla="*/ 58 w 80"/>
                <a:gd name="T35" fmla="*/ 44 h 75"/>
                <a:gd name="T36" fmla="*/ 38 w 80"/>
                <a:gd name="T37" fmla="*/ 44 h 75"/>
                <a:gd name="T38" fmla="*/ 36 w 80"/>
                <a:gd name="T39" fmla="*/ 42 h 75"/>
                <a:gd name="T40" fmla="*/ 36 w 80"/>
                <a:gd name="T41" fmla="*/ 2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75">
                  <a:moveTo>
                    <a:pt x="8" y="62"/>
                  </a:moveTo>
                  <a:cubicBezTo>
                    <a:pt x="17" y="62"/>
                    <a:pt x="17" y="62"/>
                    <a:pt x="17" y="62"/>
                  </a:cubicBezTo>
                  <a:cubicBezTo>
                    <a:pt x="23" y="62"/>
                    <a:pt x="30" y="66"/>
                    <a:pt x="32" y="68"/>
                  </a:cubicBezTo>
                  <a:cubicBezTo>
                    <a:pt x="35" y="70"/>
                    <a:pt x="36" y="72"/>
                    <a:pt x="36" y="74"/>
                  </a:cubicBezTo>
                  <a:cubicBezTo>
                    <a:pt x="57" y="74"/>
                    <a:pt x="57" y="74"/>
                    <a:pt x="57" y="74"/>
                  </a:cubicBezTo>
                  <a:cubicBezTo>
                    <a:pt x="58" y="74"/>
                    <a:pt x="59" y="75"/>
                    <a:pt x="59" y="75"/>
                  </a:cubicBezTo>
                  <a:cubicBezTo>
                    <a:pt x="72" y="68"/>
                    <a:pt x="80" y="55"/>
                    <a:pt x="80" y="40"/>
                  </a:cubicBezTo>
                  <a:cubicBezTo>
                    <a:pt x="80" y="18"/>
                    <a:pt x="62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48"/>
                    <a:pt x="2" y="56"/>
                    <a:pt x="7" y="62"/>
                  </a:cubicBezTo>
                  <a:cubicBezTo>
                    <a:pt x="7" y="62"/>
                    <a:pt x="8" y="62"/>
                    <a:pt x="8" y="62"/>
                  </a:cubicBezTo>
                  <a:close/>
                  <a:moveTo>
                    <a:pt x="36" y="20"/>
                  </a:moveTo>
                  <a:cubicBezTo>
                    <a:pt x="36" y="19"/>
                    <a:pt x="37" y="18"/>
                    <a:pt x="38" y="18"/>
                  </a:cubicBezTo>
                  <a:cubicBezTo>
                    <a:pt x="39" y="18"/>
                    <a:pt x="40" y="19"/>
                    <a:pt x="40" y="20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58" y="40"/>
                    <a:pt x="58" y="40"/>
                    <a:pt x="58" y="40"/>
                  </a:cubicBezTo>
                  <a:cubicBezTo>
                    <a:pt x="59" y="40"/>
                    <a:pt x="60" y="41"/>
                    <a:pt x="60" y="42"/>
                  </a:cubicBezTo>
                  <a:cubicBezTo>
                    <a:pt x="60" y="43"/>
                    <a:pt x="59" y="44"/>
                    <a:pt x="58" y="44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37" y="44"/>
                    <a:pt x="36" y="43"/>
                    <a:pt x="36" y="42"/>
                  </a:cubicBezTo>
                  <a:lnTo>
                    <a:pt x="36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9" name="Freeform 46">
              <a:extLst>
                <a:ext uri="{FF2B5EF4-FFF2-40B4-BE49-F238E27FC236}">
                  <a16:creationId xmlns:a16="http://schemas.microsoft.com/office/drawing/2014/main" id="{32A9D3B0-720E-4E91-95C2-B43E1B95E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6488" y="3860800"/>
              <a:ext cx="247650" cy="100013"/>
            </a:xfrm>
            <a:custGeom>
              <a:avLst/>
              <a:gdLst>
                <a:gd name="T0" fmla="*/ 24 w 66"/>
                <a:gd name="T1" fmla="*/ 8 h 26"/>
                <a:gd name="T2" fmla="*/ 16 w 66"/>
                <a:gd name="T3" fmla="*/ 8 h 26"/>
                <a:gd name="T4" fmla="*/ 14 w 66"/>
                <a:gd name="T5" fmla="*/ 10 h 26"/>
                <a:gd name="T6" fmla="*/ 16 w 66"/>
                <a:gd name="T7" fmla="*/ 12 h 26"/>
                <a:gd name="T8" fmla="*/ 32 w 66"/>
                <a:gd name="T9" fmla="*/ 12 h 26"/>
                <a:gd name="T10" fmla="*/ 40 w 66"/>
                <a:gd name="T11" fmla="*/ 12 h 26"/>
                <a:gd name="T12" fmla="*/ 50 w 66"/>
                <a:gd name="T13" fmla="*/ 12 h 26"/>
                <a:gd name="T14" fmla="*/ 66 w 66"/>
                <a:gd name="T15" fmla="*/ 24 h 26"/>
                <a:gd name="T16" fmla="*/ 64 w 66"/>
                <a:gd name="T17" fmla="*/ 26 h 26"/>
                <a:gd name="T18" fmla="*/ 2 w 66"/>
                <a:gd name="T19" fmla="*/ 26 h 26"/>
                <a:gd name="T20" fmla="*/ 0 w 66"/>
                <a:gd name="T21" fmla="*/ 24 h 26"/>
                <a:gd name="T22" fmla="*/ 0 w 66"/>
                <a:gd name="T23" fmla="*/ 2 h 26"/>
                <a:gd name="T24" fmla="*/ 2 w 66"/>
                <a:gd name="T25" fmla="*/ 0 h 26"/>
                <a:gd name="T26" fmla="*/ 11 w 66"/>
                <a:gd name="T27" fmla="*/ 0 h 26"/>
                <a:gd name="T28" fmla="*/ 24 w 66"/>
                <a:gd name="T29" fmla="*/ 5 h 26"/>
                <a:gd name="T30" fmla="*/ 24 w 66"/>
                <a:gd name="T31" fmla="*/ 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6" h="26">
                  <a:moveTo>
                    <a:pt x="24" y="8"/>
                  </a:move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4" y="9"/>
                    <a:pt x="14" y="10"/>
                  </a:cubicBezTo>
                  <a:cubicBezTo>
                    <a:pt x="14" y="11"/>
                    <a:pt x="15" y="12"/>
                    <a:pt x="16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9" y="14"/>
                    <a:pt x="66" y="19"/>
                    <a:pt x="66" y="24"/>
                  </a:cubicBezTo>
                  <a:cubicBezTo>
                    <a:pt x="66" y="25"/>
                    <a:pt x="65" y="26"/>
                    <a:pt x="64" y="26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1" y="26"/>
                    <a:pt x="0" y="25"/>
                    <a:pt x="0" y="2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7" y="0"/>
                    <a:pt x="23" y="5"/>
                    <a:pt x="24" y="5"/>
                  </a:cubicBezTo>
                  <a:cubicBezTo>
                    <a:pt x="25" y="6"/>
                    <a:pt x="28" y="8"/>
                    <a:pt x="2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0" name="Freeform 47">
              <a:extLst>
                <a:ext uri="{FF2B5EF4-FFF2-40B4-BE49-F238E27FC236}">
                  <a16:creationId xmlns:a16="http://schemas.microsoft.com/office/drawing/2014/main" id="{3F5A2186-B51C-4DA6-8970-55AC93348C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3938" y="3854450"/>
              <a:ext cx="68263" cy="120650"/>
            </a:xfrm>
            <a:custGeom>
              <a:avLst/>
              <a:gdLst>
                <a:gd name="T0" fmla="*/ 16 w 18"/>
                <a:gd name="T1" fmla="*/ 0 h 32"/>
                <a:gd name="T2" fmla="*/ 2 w 18"/>
                <a:gd name="T3" fmla="*/ 0 h 32"/>
                <a:gd name="T4" fmla="*/ 0 w 18"/>
                <a:gd name="T5" fmla="*/ 2 h 32"/>
                <a:gd name="T6" fmla="*/ 0 w 18"/>
                <a:gd name="T7" fmla="*/ 30 h 32"/>
                <a:gd name="T8" fmla="*/ 2 w 18"/>
                <a:gd name="T9" fmla="*/ 32 h 32"/>
                <a:gd name="T10" fmla="*/ 16 w 18"/>
                <a:gd name="T11" fmla="*/ 32 h 32"/>
                <a:gd name="T12" fmla="*/ 18 w 18"/>
                <a:gd name="T13" fmla="*/ 30 h 32"/>
                <a:gd name="T14" fmla="*/ 18 w 18"/>
                <a:gd name="T15" fmla="*/ 2 h 32"/>
                <a:gd name="T16" fmla="*/ 16 w 18"/>
                <a:gd name="T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32">
                  <a:moveTo>
                    <a:pt x="1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1"/>
                    <a:pt x="1" y="32"/>
                    <a:pt x="2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8" y="31"/>
                    <a:pt x="18" y="30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19956774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</TotalTime>
  <Words>697</Words>
  <Application>Microsoft Office PowerPoint</Application>
  <PresentationFormat>Widescreen</PresentationFormat>
  <Paragraphs>91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Calibri</vt:lpstr>
      <vt:lpstr>Calibri Light</vt:lpstr>
      <vt:lpstr>Georgia</vt:lpstr>
      <vt:lpstr>Segoe UI</vt:lpstr>
      <vt:lpstr>Segoe UI Semibold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Key point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bhasis Roy</dc:creator>
  <cp:lastModifiedBy>Subhasis Roy</cp:lastModifiedBy>
  <cp:revision>5</cp:revision>
  <dcterms:created xsi:type="dcterms:W3CDTF">2021-06-01T15:30:28Z</dcterms:created>
  <dcterms:modified xsi:type="dcterms:W3CDTF">2021-06-01T15:43:53Z</dcterms:modified>
</cp:coreProperties>
</file>